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4029" r:id="rId5"/>
  </p:sldMasterIdLst>
  <p:notesMasterIdLst>
    <p:notesMasterId r:id="rId24"/>
  </p:notesMasterIdLst>
  <p:sldIdLst>
    <p:sldId id="256" r:id="rId6"/>
    <p:sldId id="900" r:id="rId7"/>
    <p:sldId id="650" r:id="rId8"/>
    <p:sldId id="920" r:id="rId9"/>
    <p:sldId id="901" r:id="rId10"/>
    <p:sldId id="923" r:id="rId11"/>
    <p:sldId id="922" r:id="rId12"/>
    <p:sldId id="921" r:id="rId13"/>
    <p:sldId id="651" r:id="rId14"/>
    <p:sldId id="919" r:id="rId15"/>
    <p:sldId id="916" r:id="rId16"/>
    <p:sldId id="917" r:id="rId17"/>
    <p:sldId id="918" r:id="rId18"/>
    <p:sldId id="908" r:id="rId19"/>
    <p:sldId id="907" r:id="rId20"/>
    <p:sldId id="906" r:id="rId21"/>
    <p:sldId id="909" r:id="rId22"/>
    <p:sldId id="634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922AD871-A242-4079-9577-9A6411BFD4FF}">
          <p14:sldIdLst>
            <p14:sldId id="256"/>
            <p14:sldId id="900"/>
            <p14:sldId id="650"/>
            <p14:sldId id="920"/>
            <p14:sldId id="901"/>
            <p14:sldId id="923"/>
            <p14:sldId id="922"/>
            <p14:sldId id="921"/>
            <p14:sldId id="651"/>
            <p14:sldId id="919"/>
          </p14:sldIdLst>
        </p14:section>
        <p14:section name="Appendix" id="{FBA811BF-297A-4517-90B6-C6D6B9F14A32}">
          <p14:sldIdLst>
            <p14:sldId id="916"/>
            <p14:sldId id="917"/>
            <p14:sldId id="918"/>
            <p14:sldId id="908"/>
            <p14:sldId id="907"/>
            <p14:sldId id="906"/>
            <p14:sldId id="909"/>
            <p14:sldId id="63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5DFEB"/>
    <a:srgbClr val="BFBFBF"/>
    <a:srgbClr val="00B140"/>
    <a:srgbClr val="0033A0"/>
    <a:srgbClr val="1FB24A"/>
    <a:srgbClr val="FF8F1C"/>
    <a:srgbClr val="FFFFFF"/>
    <a:srgbClr val="F98F25"/>
    <a:srgbClr val="DBDBDB"/>
    <a:srgbClr val="FADA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" v="1353" dt="2019-10-16T21:28:16.9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15" autoAdjust="0"/>
    <p:restoredTop sz="94343" autoAdjust="0"/>
  </p:normalViewPr>
  <p:slideViewPr>
    <p:cSldViewPr snapToGrid="0">
      <p:cViewPr varScale="1">
        <p:scale>
          <a:sx n="72" d="100"/>
          <a:sy n="72" d="100"/>
        </p:scale>
        <p:origin x="516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142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14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her, Varsha (Cognizant)" userId="S::449991@cognizant.com::ff4b692b-2c27-4a42-b82c-757741cb8d6d" providerId="AD" clId="Web-{37393470-6082-62D6-3DFC-58F3016E25CE}"/>
    <pc:docChg chg="modSld">
      <pc:chgData name="Kher, Varsha (Cognizant)" userId="S::449991@cognizant.com::ff4b692b-2c27-4a42-b82c-757741cb8d6d" providerId="AD" clId="Web-{37393470-6082-62D6-3DFC-58F3016E25CE}" dt="2019-10-16T18:49:35.827" v="3" actId="1076"/>
      <pc:docMkLst>
        <pc:docMk/>
      </pc:docMkLst>
      <pc:sldChg chg="modSp">
        <pc:chgData name="Kher, Varsha (Cognizant)" userId="S::449991@cognizant.com::ff4b692b-2c27-4a42-b82c-757741cb8d6d" providerId="AD" clId="Web-{37393470-6082-62D6-3DFC-58F3016E25CE}" dt="2019-10-16T18:49:35.827" v="3" actId="1076"/>
        <pc:sldMkLst>
          <pc:docMk/>
          <pc:sldMk cId="1568745529" sldId="644"/>
        </pc:sldMkLst>
        <pc:grpChg chg="mod">
          <ac:chgData name="Kher, Varsha (Cognizant)" userId="S::449991@cognizant.com::ff4b692b-2c27-4a42-b82c-757741cb8d6d" providerId="AD" clId="Web-{37393470-6082-62D6-3DFC-58F3016E25CE}" dt="2019-10-16T18:49:35.827" v="3" actId="1076"/>
          <ac:grpSpMkLst>
            <pc:docMk/>
            <pc:sldMk cId="1568745529" sldId="644"/>
            <ac:grpSpMk id="37" creationId="{00000000-0000-0000-0000-000000000000}"/>
          </ac:grpSpMkLst>
        </pc:grpChg>
      </pc:sldChg>
    </pc:docChg>
  </pc:docChgLst>
  <pc:docChgLst>
    <pc:chgData name="Golambade, Uday (Cognizant)" userId="S::180894@cognizant.com::f1bd3841-9e06-4229-b647-c56c0b7a66fc" providerId="AD" clId="Web-{0EF46D47-2C1D-4B94-B332-45D62F81DB00}"/>
    <pc:docChg chg="modSld">
      <pc:chgData name="Golambade, Uday (Cognizant)" userId="S::180894@cognizant.com::f1bd3841-9e06-4229-b647-c56c0b7a66fc" providerId="AD" clId="Web-{0EF46D47-2C1D-4B94-B332-45D62F81DB00}" dt="2019-10-16T18:58:20.865" v="68"/>
      <pc:docMkLst>
        <pc:docMk/>
      </pc:docMkLst>
      <pc:sldChg chg="addSp delSp modSp">
        <pc:chgData name="Golambade, Uday (Cognizant)" userId="S::180894@cognizant.com::f1bd3841-9e06-4229-b647-c56c0b7a66fc" providerId="AD" clId="Web-{0EF46D47-2C1D-4B94-B332-45D62F81DB00}" dt="2019-10-16T18:58:20.865" v="68"/>
        <pc:sldMkLst>
          <pc:docMk/>
          <pc:sldMk cId="2143467878" sldId="836"/>
        </pc:sldMkLst>
        <pc:spChg chg="add del mod">
          <ac:chgData name="Golambade, Uday (Cognizant)" userId="S::180894@cognizant.com::f1bd3841-9e06-4229-b647-c56c0b7a66fc" providerId="AD" clId="Web-{0EF46D47-2C1D-4B94-B332-45D62F81DB00}" dt="2019-10-16T18:49:56.024" v="9"/>
          <ac:spMkLst>
            <pc:docMk/>
            <pc:sldMk cId="2143467878" sldId="836"/>
            <ac:spMk id="6" creationId="{78C60B6E-B3AB-4C56-A0F0-9EE25AC576F1}"/>
          </ac:spMkLst>
        </pc:spChg>
        <pc:spChg chg="add mod">
          <ac:chgData name="Golambade, Uday (Cognizant)" userId="S::180894@cognizant.com::f1bd3841-9e06-4229-b647-c56c0b7a66fc" providerId="AD" clId="Web-{0EF46D47-2C1D-4B94-B332-45D62F81DB00}" dt="2019-10-16T18:50:30.821" v="13"/>
          <ac:spMkLst>
            <pc:docMk/>
            <pc:sldMk cId="2143467878" sldId="836"/>
            <ac:spMk id="10" creationId="{C2B9B967-3642-4DA3-936B-13CCC1D91347}"/>
          </ac:spMkLst>
        </pc:spChg>
        <pc:spChg chg="mod">
          <ac:chgData name="Golambade, Uday (Cognizant)" userId="S::180894@cognizant.com::f1bd3841-9e06-4229-b647-c56c0b7a66fc" providerId="AD" clId="Web-{0EF46D47-2C1D-4B94-B332-45D62F81DB00}" dt="2019-10-16T18:57:32.771" v="63"/>
          <ac:spMkLst>
            <pc:docMk/>
            <pc:sldMk cId="2143467878" sldId="836"/>
            <ac:spMk id="11" creationId="{00000000-0000-0000-0000-000000000000}"/>
          </ac:spMkLst>
        </pc:spChg>
        <pc:graphicFrameChg chg="add del mod">
          <ac:chgData name="Golambade, Uday (Cognizant)" userId="S::180894@cognizant.com::f1bd3841-9e06-4229-b647-c56c0b7a66fc" providerId="AD" clId="Web-{0EF46D47-2C1D-4B94-B332-45D62F81DB00}" dt="2019-10-16T18:49:56.024" v="10"/>
          <ac:graphicFrameMkLst>
            <pc:docMk/>
            <pc:sldMk cId="2143467878" sldId="836"/>
            <ac:graphicFrameMk id="3" creationId="{C3E3BC72-4C3B-4E8C-B1FC-6290C9A00C66}"/>
          </ac:graphicFrameMkLst>
        </pc:graphicFrameChg>
        <pc:graphicFrameChg chg="del">
          <ac:chgData name="Golambade, Uday (Cognizant)" userId="S::180894@cognizant.com::f1bd3841-9e06-4229-b647-c56c0b7a66fc" providerId="AD" clId="Web-{0EF46D47-2C1D-4B94-B332-45D62F81DB00}" dt="2019-10-16T18:49:22.165" v="0"/>
          <ac:graphicFrameMkLst>
            <pc:docMk/>
            <pc:sldMk cId="2143467878" sldId="836"/>
            <ac:graphicFrameMk id="7" creationId="{00000000-0000-0000-0000-000000000000}"/>
          </ac:graphicFrameMkLst>
        </pc:graphicFrameChg>
        <pc:graphicFrameChg chg="add mod modGraphic">
          <ac:chgData name="Golambade, Uday (Cognizant)" userId="S::180894@cognizant.com::f1bd3841-9e06-4229-b647-c56c0b7a66fc" providerId="AD" clId="Web-{0EF46D47-2C1D-4B94-B332-45D62F81DB00}" dt="2019-10-16T18:58:20.865" v="68"/>
          <ac:graphicFrameMkLst>
            <pc:docMk/>
            <pc:sldMk cId="2143467878" sldId="836"/>
            <ac:graphicFrameMk id="9" creationId="{4C7EC77F-7789-41C6-A1AB-BB02B06D229E}"/>
          </ac:graphicFrameMkLst>
        </pc:graphicFrameChg>
      </pc:sldChg>
    </pc:docChg>
  </pc:docChgLst>
  <pc:docChgLst>
    <pc:chgData name="Sevagapandian, Sujay Sankar (Cognizant)" userId="292f3f95-9fc1-4fb9-abb6-6f6f25561974" providerId="ADAL" clId="{5677660A-23D0-4045-AC0B-2A3A6C03B550}"/>
    <pc:docChg chg="undo custSel addSld delSld modSld sldOrd modSection">
      <pc:chgData name="Sevagapandian, Sujay Sankar (Cognizant)" userId="292f3f95-9fc1-4fb9-abb6-6f6f25561974" providerId="ADAL" clId="{5677660A-23D0-4045-AC0B-2A3A6C03B550}" dt="2019-10-16T21:28:16.922" v="1349" actId="20577"/>
      <pc:docMkLst>
        <pc:docMk/>
      </pc:docMkLst>
      <pc:sldChg chg="modSp add modTransition">
        <pc:chgData name="Sevagapandian, Sujay Sankar (Cognizant)" userId="292f3f95-9fc1-4fb9-abb6-6f6f25561974" providerId="ADAL" clId="{5677660A-23D0-4045-AC0B-2A3A6C03B550}" dt="2019-10-16T20:25:11.626" v="987"/>
        <pc:sldMkLst>
          <pc:docMk/>
          <pc:sldMk cId="1867427206" sldId="383"/>
        </pc:sldMkLst>
        <pc:spChg chg="mod">
          <ac:chgData name="Sevagapandian, Sujay Sankar (Cognizant)" userId="292f3f95-9fc1-4fb9-abb6-6f6f25561974" providerId="ADAL" clId="{5677660A-23D0-4045-AC0B-2A3A6C03B550}" dt="2019-10-16T19:58:30.778" v="614" actId="1076"/>
          <ac:spMkLst>
            <pc:docMk/>
            <pc:sldMk cId="1867427206" sldId="383"/>
            <ac:spMk id="6" creationId="{5D8FE869-D263-934F-BAB7-FF55C8D7C852}"/>
          </ac:spMkLst>
        </pc:spChg>
        <pc:picChg chg="mod">
          <ac:chgData name="Sevagapandian, Sujay Sankar (Cognizant)" userId="292f3f95-9fc1-4fb9-abb6-6f6f25561974" providerId="ADAL" clId="{5677660A-23D0-4045-AC0B-2A3A6C03B550}" dt="2019-10-16T19:58:30.778" v="614" actId="1076"/>
          <ac:picMkLst>
            <pc:docMk/>
            <pc:sldMk cId="1867427206" sldId="383"/>
            <ac:picMk id="5" creationId="{011D9178-A4FA-074E-BFA9-BC1FBE1FD666}"/>
          </ac:picMkLst>
        </pc:picChg>
      </pc:sldChg>
      <pc:sldChg chg="add">
        <pc:chgData name="Sevagapandian, Sujay Sankar (Cognizant)" userId="292f3f95-9fc1-4fb9-abb6-6f6f25561974" providerId="ADAL" clId="{5677660A-23D0-4045-AC0B-2A3A6C03B550}" dt="2019-10-16T19:45:07.271" v="186"/>
        <pc:sldMkLst>
          <pc:docMk/>
          <pc:sldMk cId="3411270888" sldId="392"/>
        </pc:sldMkLst>
      </pc:sldChg>
      <pc:sldChg chg="add">
        <pc:chgData name="Sevagapandian, Sujay Sankar (Cognizant)" userId="292f3f95-9fc1-4fb9-abb6-6f6f25561974" providerId="ADAL" clId="{5677660A-23D0-4045-AC0B-2A3A6C03B550}" dt="2019-10-16T19:45:07.271" v="186"/>
        <pc:sldMkLst>
          <pc:docMk/>
          <pc:sldMk cId="92213993" sldId="393"/>
        </pc:sldMkLst>
      </pc:sldChg>
      <pc:sldChg chg="add modTransition">
        <pc:chgData name="Sevagapandian, Sujay Sankar (Cognizant)" userId="292f3f95-9fc1-4fb9-abb6-6f6f25561974" providerId="ADAL" clId="{5677660A-23D0-4045-AC0B-2A3A6C03B550}" dt="2019-10-16T20:25:08.663" v="986"/>
        <pc:sldMkLst>
          <pc:docMk/>
          <pc:sldMk cId="1409863296" sldId="409"/>
        </pc:sldMkLst>
      </pc:sldChg>
      <pc:sldChg chg="modSp">
        <pc:chgData name="Sevagapandian, Sujay Sankar (Cognizant)" userId="292f3f95-9fc1-4fb9-abb6-6f6f25561974" providerId="ADAL" clId="{5677660A-23D0-4045-AC0B-2A3A6C03B550}" dt="2019-10-16T20:19:36.470" v="944" actId="20577"/>
        <pc:sldMkLst>
          <pc:docMk/>
          <pc:sldMk cId="4017302907" sldId="641"/>
        </pc:sldMkLst>
        <pc:spChg chg="mod">
          <ac:chgData name="Sevagapandian, Sujay Sankar (Cognizant)" userId="292f3f95-9fc1-4fb9-abb6-6f6f25561974" providerId="ADAL" clId="{5677660A-23D0-4045-AC0B-2A3A6C03B550}" dt="2019-10-16T20:19:36.470" v="944" actId="20577"/>
          <ac:spMkLst>
            <pc:docMk/>
            <pc:sldMk cId="4017302907" sldId="641"/>
            <ac:spMk id="36" creationId="{7FEE662A-AB7E-1F49-B932-1FEFBD264425}"/>
          </ac:spMkLst>
        </pc:spChg>
      </pc:sldChg>
      <pc:sldChg chg="del">
        <pc:chgData name="Sevagapandian, Sujay Sankar (Cognizant)" userId="292f3f95-9fc1-4fb9-abb6-6f6f25561974" providerId="ADAL" clId="{5677660A-23D0-4045-AC0B-2A3A6C03B550}" dt="2019-10-16T21:24:58.873" v="1061" actId="2696"/>
        <pc:sldMkLst>
          <pc:docMk/>
          <pc:sldMk cId="3232672875" sldId="642"/>
        </pc:sldMkLst>
      </pc:sldChg>
      <pc:sldChg chg="modTransition">
        <pc:chgData name="Sevagapandian, Sujay Sankar (Cognizant)" userId="292f3f95-9fc1-4fb9-abb6-6f6f25561974" providerId="ADAL" clId="{5677660A-23D0-4045-AC0B-2A3A6C03B550}" dt="2019-10-16T20:25:23.683" v="988"/>
        <pc:sldMkLst>
          <pc:docMk/>
          <pc:sldMk cId="2357770296" sldId="686"/>
        </pc:sldMkLst>
      </pc:sldChg>
      <pc:sldChg chg="modSp">
        <pc:chgData name="Sevagapandian, Sujay Sankar (Cognizant)" userId="292f3f95-9fc1-4fb9-abb6-6f6f25561974" providerId="ADAL" clId="{5677660A-23D0-4045-AC0B-2A3A6C03B550}" dt="2019-10-16T19:48:26.787" v="336" actId="20577"/>
        <pc:sldMkLst>
          <pc:docMk/>
          <pc:sldMk cId="2274031097" sldId="832"/>
        </pc:sldMkLst>
        <pc:spChg chg="mod">
          <ac:chgData name="Sevagapandian, Sujay Sankar (Cognizant)" userId="292f3f95-9fc1-4fb9-abb6-6f6f25561974" providerId="ADAL" clId="{5677660A-23D0-4045-AC0B-2A3A6C03B550}" dt="2019-10-16T19:48:26.787" v="336" actId="20577"/>
          <ac:spMkLst>
            <pc:docMk/>
            <pc:sldMk cId="2274031097" sldId="832"/>
            <ac:spMk id="2" creationId="{00000000-0000-0000-0000-000000000000}"/>
          </ac:spMkLst>
        </pc:spChg>
      </pc:sldChg>
      <pc:sldChg chg="modSp">
        <pc:chgData name="Sevagapandian, Sujay Sankar (Cognizant)" userId="292f3f95-9fc1-4fb9-abb6-6f6f25561974" providerId="ADAL" clId="{5677660A-23D0-4045-AC0B-2A3A6C03B550}" dt="2019-10-16T20:23:25.221" v="985" actId="20577"/>
        <pc:sldMkLst>
          <pc:docMk/>
          <pc:sldMk cId="653785762" sldId="833"/>
        </pc:sldMkLst>
        <pc:spChg chg="mod">
          <ac:chgData name="Sevagapandian, Sujay Sankar (Cognizant)" userId="292f3f95-9fc1-4fb9-abb6-6f6f25561974" providerId="ADAL" clId="{5677660A-23D0-4045-AC0B-2A3A6C03B550}" dt="2019-10-16T19:48:04.616" v="313" actId="20577"/>
          <ac:spMkLst>
            <pc:docMk/>
            <pc:sldMk cId="653785762" sldId="833"/>
            <ac:spMk id="2" creationId="{00000000-0000-0000-0000-000000000000}"/>
          </ac:spMkLst>
        </pc:spChg>
        <pc:spChg chg="mod">
          <ac:chgData name="Sevagapandian, Sujay Sankar (Cognizant)" userId="292f3f95-9fc1-4fb9-abb6-6f6f25561974" providerId="ADAL" clId="{5677660A-23D0-4045-AC0B-2A3A6C03B550}" dt="2019-10-16T20:22:58.501" v="976" actId="20577"/>
          <ac:spMkLst>
            <pc:docMk/>
            <pc:sldMk cId="653785762" sldId="833"/>
            <ac:spMk id="12" creationId="{00000000-0000-0000-0000-000000000000}"/>
          </ac:spMkLst>
        </pc:spChg>
        <pc:spChg chg="mod">
          <ac:chgData name="Sevagapandian, Sujay Sankar (Cognizant)" userId="292f3f95-9fc1-4fb9-abb6-6f6f25561974" providerId="ADAL" clId="{5677660A-23D0-4045-AC0B-2A3A6C03B550}" dt="2019-10-16T20:23:25.221" v="985" actId="20577"/>
          <ac:spMkLst>
            <pc:docMk/>
            <pc:sldMk cId="653785762" sldId="833"/>
            <ac:spMk id="26" creationId="{2C92006C-9850-A24D-BA15-DD3E7527BC7F}"/>
          </ac:spMkLst>
        </pc:spChg>
      </pc:sldChg>
      <pc:sldChg chg="modSp">
        <pc:chgData name="Sevagapandian, Sujay Sankar (Cognizant)" userId="292f3f95-9fc1-4fb9-abb6-6f6f25561974" providerId="ADAL" clId="{5677660A-23D0-4045-AC0B-2A3A6C03B550}" dt="2019-10-16T20:27:24.103" v="990"/>
        <pc:sldMkLst>
          <pc:docMk/>
          <pc:sldMk cId="1224430303" sldId="859"/>
        </pc:sldMkLst>
        <pc:spChg chg="mod">
          <ac:chgData name="Sevagapandian, Sujay Sankar (Cognizant)" userId="292f3f95-9fc1-4fb9-abb6-6f6f25561974" providerId="ADAL" clId="{5677660A-23D0-4045-AC0B-2A3A6C03B550}" dt="2019-10-16T20:27:24.103" v="990"/>
          <ac:spMkLst>
            <pc:docMk/>
            <pc:sldMk cId="1224430303" sldId="859"/>
            <ac:spMk id="557" creationId="{00000000-0000-0000-0000-000000000000}"/>
          </ac:spMkLst>
        </pc:spChg>
      </pc:sldChg>
      <pc:sldChg chg="addSp modSp add">
        <pc:chgData name="Sevagapandian, Sujay Sankar (Cognizant)" userId="292f3f95-9fc1-4fb9-abb6-6f6f25561974" providerId="ADAL" clId="{5677660A-23D0-4045-AC0B-2A3A6C03B550}" dt="2019-10-16T21:28:16.922" v="1349" actId="20577"/>
        <pc:sldMkLst>
          <pc:docMk/>
          <pc:sldMk cId="2192764372" sldId="866"/>
        </pc:sldMkLst>
        <pc:spChg chg="mod">
          <ac:chgData name="Sevagapandian, Sujay Sankar (Cognizant)" userId="292f3f95-9fc1-4fb9-abb6-6f6f25561974" providerId="ADAL" clId="{5677660A-23D0-4045-AC0B-2A3A6C03B550}" dt="2019-10-16T19:54:56.912" v="612" actId="20577"/>
          <ac:spMkLst>
            <pc:docMk/>
            <pc:sldMk cId="2192764372" sldId="866"/>
            <ac:spMk id="2" creationId="{1D1C51D5-CF85-FC4E-96F8-BB5626FAD441}"/>
          </ac:spMkLst>
        </pc:spChg>
        <pc:spChg chg="add mod">
          <ac:chgData name="Sevagapandian, Sujay Sankar (Cognizant)" userId="292f3f95-9fc1-4fb9-abb6-6f6f25561974" providerId="ADAL" clId="{5677660A-23D0-4045-AC0B-2A3A6C03B550}" dt="2019-10-16T20:18:38.358" v="940" actId="465"/>
          <ac:spMkLst>
            <pc:docMk/>
            <pc:sldMk cId="2192764372" sldId="866"/>
            <ac:spMk id="5" creationId="{64158666-BE45-EB4D-873E-419D5499C4A3}"/>
          </ac:spMkLst>
        </pc:spChg>
        <pc:spChg chg="add mod">
          <ac:chgData name="Sevagapandian, Sujay Sankar (Cognizant)" userId="292f3f95-9fc1-4fb9-abb6-6f6f25561974" providerId="ADAL" clId="{5677660A-23D0-4045-AC0B-2A3A6C03B550}" dt="2019-10-16T20:18:38.358" v="940" actId="465"/>
          <ac:spMkLst>
            <pc:docMk/>
            <pc:sldMk cId="2192764372" sldId="866"/>
            <ac:spMk id="6" creationId="{41C66C61-2DD0-E348-8C56-CF453A09821E}"/>
          </ac:spMkLst>
        </pc:spChg>
        <pc:spChg chg="add mod">
          <ac:chgData name="Sevagapandian, Sujay Sankar (Cognizant)" userId="292f3f95-9fc1-4fb9-abb6-6f6f25561974" providerId="ADAL" clId="{5677660A-23D0-4045-AC0B-2A3A6C03B550}" dt="2019-10-16T20:18:38.358" v="940" actId="465"/>
          <ac:spMkLst>
            <pc:docMk/>
            <pc:sldMk cId="2192764372" sldId="866"/>
            <ac:spMk id="7" creationId="{3A6C4279-93E2-454E-B5F7-3387B4931B10}"/>
          </ac:spMkLst>
        </pc:spChg>
        <pc:spChg chg="add mod">
          <ac:chgData name="Sevagapandian, Sujay Sankar (Cognizant)" userId="292f3f95-9fc1-4fb9-abb6-6f6f25561974" providerId="ADAL" clId="{5677660A-23D0-4045-AC0B-2A3A6C03B550}" dt="2019-10-16T20:18:38.358" v="940" actId="465"/>
          <ac:spMkLst>
            <pc:docMk/>
            <pc:sldMk cId="2192764372" sldId="866"/>
            <ac:spMk id="8" creationId="{F3970253-DF85-6F43-A469-F46AFC6C3109}"/>
          </ac:spMkLst>
        </pc:spChg>
        <pc:spChg chg="add mod">
          <ac:chgData name="Sevagapandian, Sujay Sankar (Cognizant)" userId="292f3f95-9fc1-4fb9-abb6-6f6f25561974" providerId="ADAL" clId="{5677660A-23D0-4045-AC0B-2A3A6C03B550}" dt="2019-10-16T21:26:19.140" v="1083" actId="1076"/>
          <ac:spMkLst>
            <pc:docMk/>
            <pc:sldMk cId="2192764372" sldId="866"/>
            <ac:spMk id="9" creationId="{8B6F2CFE-92CA-C641-BAE0-A6DE1099D6B6}"/>
          </ac:spMkLst>
        </pc:spChg>
        <pc:spChg chg="add mod">
          <ac:chgData name="Sevagapandian, Sujay Sankar (Cognizant)" userId="292f3f95-9fc1-4fb9-abb6-6f6f25561974" providerId="ADAL" clId="{5677660A-23D0-4045-AC0B-2A3A6C03B550}" dt="2019-10-16T21:28:16.922" v="1349" actId="20577"/>
          <ac:spMkLst>
            <pc:docMk/>
            <pc:sldMk cId="2192764372" sldId="866"/>
            <ac:spMk id="10" creationId="{03550E31-E79C-6949-B8BD-1AEA9B3609FE}"/>
          </ac:spMkLst>
        </pc:spChg>
        <pc:spChg chg="add mod">
          <ac:chgData name="Sevagapandian, Sujay Sankar (Cognizant)" userId="292f3f95-9fc1-4fb9-abb6-6f6f25561974" providerId="ADAL" clId="{5677660A-23D0-4045-AC0B-2A3A6C03B550}" dt="2019-10-16T20:18:46.754" v="943" actId="1036"/>
          <ac:spMkLst>
            <pc:docMk/>
            <pc:sldMk cId="2192764372" sldId="866"/>
            <ac:spMk id="11" creationId="{299C9CBC-D99F-7F4C-BC4B-F28C53EF6010}"/>
          </ac:spMkLst>
        </pc:spChg>
        <pc:spChg chg="add mod">
          <ac:chgData name="Sevagapandian, Sujay Sankar (Cognizant)" userId="292f3f95-9fc1-4fb9-abb6-6f6f25561974" providerId="ADAL" clId="{5677660A-23D0-4045-AC0B-2A3A6C03B550}" dt="2019-10-16T21:27:53.499" v="1302" actId="1037"/>
          <ac:spMkLst>
            <pc:docMk/>
            <pc:sldMk cId="2192764372" sldId="866"/>
            <ac:spMk id="12" creationId="{DF6A732E-923E-704C-B010-B164E5675A3C}"/>
          </ac:spMkLst>
        </pc:spChg>
        <pc:spChg chg="add mod">
          <ac:chgData name="Sevagapandian, Sujay Sankar (Cognizant)" userId="292f3f95-9fc1-4fb9-abb6-6f6f25561974" providerId="ADAL" clId="{5677660A-23D0-4045-AC0B-2A3A6C03B550}" dt="2019-10-16T21:27:41.052" v="1295" actId="1037"/>
          <ac:spMkLst>
            <pc:docMk/>
            <pc:sldMk cId="2192764372" sldId="866"/>
            <ac:spMk id="13" creationId="{E5792DDD-C836-8948-84CC-1B5E06CC7110}"/>
          </ac:spMkLst>
        </pc:spChg>
        <pc:spChg chg="add mod">
          <ac:chgData name="Sevagapandian, Sujay Sankar (Cognizant)" userId="292f3f95-9fc1-4fb9-abb6-6f6f25561974" providerId="ADAL" clId="{5677660A-23D0-4045-AC0B-2A3A6C03B550}" dt="2019-10-16T21:27:41.052" v="1295" actId="1037"/>
          <ac:spMkLst>
            <pc:docMk/>
            <pc:sldMk cId="2192764372" sldId="866"/>
            <ac:spMk id="14" creationId="{6D97B4C9-2A47-DD41-9FB1-96A687ADAF2B}"/>
          </ac:spMkLst>
        </pc:spChg>
        <pc:spChg chg="add mod">
          <ac:chgData name="Sevagapandian, Sujay Sankar (Cognizant)" userId="292f3f95-9fc1-4fb9-abb6-6f6f25561974" providerId="ADAL" clId="{5677660A-23D0-4045-AC0B-2A3A6C03B550}" dt="2019-10-16T21:27:41.052" v="1295" actId="1037"/>
          <ac:spMkLst>
            <pc:docMk/>
            <pc:sldMk cId="2192764372" sldId="866"/>
            <ac:spMk id="15" creationId="{5D5912C3-185F-E345-9C03-DBFCE1A4AAF6}"/>
          </ac:spMkLst>
        </pc:spChg>
        <pc:spChg chg="add mod">
          <ac:chgData name="Sevagapandian, Sujay Sankar (Cognizant)" userId="292f3f95-9fc1-4fb9-abb6-6f6f25561974" providerId="ADAL" clId="{5677660A-23D0-4045-AC0B-2A3A6C03B550}" dt="2019-10-16T20:18:38.358" v="940" actId="465"/>
          <ac:spMkLst>
            <pc:docMk/>
            <pc:sldMk cId="2192764372" sldId="866"/>
            <ac:spMk id="16" creationId="{0B786A2A-1781-1248-9845-8763E96AC66A}"/>
          </ac:spMkLst>
        </pc:spChg>
        <pc:spChg chg="add mod">
          <ac:chgData name="Sevagapandian, Sujay Sankar (Cognizant)" userId="292f3f95-9fc1-4fb9-abb6-6f6f25561974" providerId="ADAL" clId="{5677660A-23D0-4045-AC0B-2A3A6C03B550}" dt="2019-10-16T19:52:25.877" v="482" actId="14100"/>
          <ac:spMkLst>
            <pc:docMk/>
            <pc:sldMk cId="2192764372" sldId="866"/>
            <ac:spMk id="17" creationId="{33587E72-1362-9F4A-A366-FA41C01D96EE}"/>
          </ac:spMkLst>
        </pc:spChg>
        <pc:spChg chg="add mod">
          <ac:chgData name="Sevagapandian, Sujay Sankar (Cognizant)" userId="292f3f95-9fc1-4fb9-abb6-6f6f25561974" providerId="ADAL" clId="{5677660A-23D0-4045-AC0B-2A3A6C03B550}" dt="2019-10-16T19:52:40.185" v="487" actId="167"/>
          <ac:spMkLst>
            <pc:docMk/>
            <pc:sldMk cId="2192764372" sldId="866"/>
            <ac:spMk id="18" creationId="{80BDA335-BBEB-9D44-A359-650210F066CD}"/>
          </ac:spMkLst>
        </pc:spChg>
        <pc:spChg chg="add mod">
          <ac:chgData name="Sevagapandian, Sujay Sankar (Cognizant)" userId="292f3f95-9fc1-4fb9-abb6-6f6f25561974" providerId="ADAL" clId="{5677660A-23D0-4045-AC0B-2A3A6C03B550}" dt="2019-10-16T20:18:38.358" v="940" actId="465"/>
          <ac:spMkLst>
            <pc:docMk/>
            <pc:sldMk cId="2192764372" sldId="866"/>
            <ac:spMk id="19" creationId="{16E4081E-98BD-454C-BC12-79B6FC9676A2}"/>
          </ac:spMkLst>
        </pc:spChg>
      </pc:sldChg>
      <pc:sldChg chg="addSp modSp add ord">
        <pc:chgData name="Sevagapandian, Sujay Sankar (Cognizant)" userId="292f3f95-9fc1-4fb9-abb6-6f6f25561974" providerId="ADAL" clId="{5677660A-23D0-4045-AC0B-2A3A6C03B550}" dt="2019-10-16T21:23:33.905" v="1060" actId="20577"/>
        <pc:sldMkLst>
          <pc:docMk/>
          <pc:sldMk cId="2663424751" sldId="867"/>
        </pc:sldMkLst>
        <pc:spChg chg="mod">
          <ac:chgData name="Sevagapandian, Sujay Sankar (Cognizant)" userId="292f3f95-9fc1-4fb9-abb6-6f6f25561974" providerId="ADAL" clId="{5677660A-23D0-4045-AC0B-2A3A6C03B550}" dt="2019-10-16T20:17:29.145" v="875" actId="14100"/>
          <ac:spMkLst>
            <pc:docMk/>
            <pc:sldMk cId="2663424751" sldId="867"/>
            <ac:spMk id="2" creationId="{2227D29C-77A0-4241-91E5-E8D6B61220E8}"/>
          </ac:spMkLst>
        </pc:spChg>
        <pc:graphicFrameChg chg="add mod modGraphic">
          <ac:chgData name="Sevagapandian, Sujay Sankar (Cognizant)" userId="292f3f95-9fc1-4fb9-abb6-6f6f25561974" providerId="ADAL" clId="{5677660A-23D0-4045-AC0B-2A3A6C03B550}" dt="2019-10-16T21:23:33.905" v="1060" actId="20577"/>
          <ac:graphicFrameMkLst>
            <pc:docMk/>
            <pc:sldMk cId="2663424751" sldId="867"/>
            <ac:graphicFrameMk id="5" creationId="{5CAB2D49-0A45-1E44-88DA-035708688E42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4AEB86-B097-4ED6-B83F-98AAF4C0CCEE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DDAE87-8AFA-4F09-9823-823514C0C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978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EC2B23-D869-4481-9729-0CC4E5B507E8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44"/>
            <a:ext cx="12192000" cy="685331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369" y="282376"/>
            <a:ext cx="1743986" cy="421009"/>
          </a:xfrm>
          <a:prstGeom prst="rect">
            <a:avLst/>
          </a:prstGeom>
          <a:effectLst>
            <a:outerShdw blurRad="50800" dist="25400" dir="2400000" algn="tl" rotWithShape="0">
              <a:prstClr val="black">
                <a:alpha val="45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6821" y="6428935"/>
            <a:ext cx="1492555" cy="32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352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78F5DB-6DD9-4F49-B0CC-010438F7E3F6}" type="datetime1">
              <a:rPr lang="en-US" smtClean="0"/>
              <a:t>5/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960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E672C-0731-4B2C-84FB-4E677A0D76C9}" type="datetime1">
              <a:rPr lang="en-US" smtClean="0"/>
              <a:t>5/6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9133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96628-6529-498F-98E1-9BA4A968F0DF}" type="datetime1">
              <a:rPr lang="en-US" smtClean="0"/>
              <a:t>5/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950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07FA40-7AA4-4C7C-B7AB-9C2A6CBDA2FA}" type="datetime1">
              <a:rPr lang="en-US" smtClean="0"/>
              <a:t>5/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094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2AC51-3B4D-480F-99C3-E1F248CCCCB6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630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10883-E536-4F66-82EC-5E8E4633F508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544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2"/>
          <p:cNvSpPr>
            <a:spLocks noGrp="1"/>
          </p:cNvSpPr>
          <p:nvPr>
            <p:ph type="title"/>
          </p:nvPr>
        </p:nvSpPr>
        <p:spPr>
          <a:xfrm>
            <a:off x="228601" y="12701"/>
            <a:ext cx="9632183" cy="60725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1568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D9C36-FC91-49CF-8F1C-31CF7864E06A}" type="datetime1">
              <a:rPr lang="en-US" smtClean="0">
                <a:solidFill>
                  <a:srgbClr val="0033A0"/>
                </a:solidFill>
              </a:rPr>
              <a:t>5/6/2020</a:t>
            </a:fld>
            <a:endParaRPr lang="en-US" dirty="0">
              <a:solidFill>
                <a:srgbClr val="0033A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33A0"/>
                </a:solidFill>
              </a:rPr>
              <a:t>© </a:t>
            </a:r>
            <a:r>
              <a:rPr lang="en-US" dirty="0" smtClean="0">
                <a:solidFill>
                  <a:srgbClr val="0033A0"/>
                </a:solidFill>
              </a:rPr>
              <a:t>2020 </a:t>
            </a:r>
            <a:r>
              <a:rPr lang="en-US" dirty="0">
                <a:solidFill>
                  <a:srgbClr val="0033A0"/>
                </a:solidFill>
              </a:rPr>
              <a:t>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8160" y="6400800"/>
            <a:ext cx="304800" cy="207264"/>
          </a:xfrm>
        </p:spPr>
        <p:txBody>
          <a:bodyPr/>
          <a:lstStyle/>
          <a:p>
            <a:fld id="{2EFEF571-C9B4-4D92-A7F7-315B894862A8}" type="slidenum">
              <a:rPr lang="en-US" smtClean="0">
                <a:solidFill>
                  <a:srgbClr val="00B140"/>
                </a:solidFill>
              </a:rPr>
              <a:pPr/>
              <a:t>‹#›</a:t>
            </a:fld>
            <a:endParaRPr lang="en-US" dirty="0">
              <a:solidFill>
                <a:srgbClr val="00B14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18160" y="6254496"/>
            <a:ext cx="1115568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69624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092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82496"/>
            <a:ext cx="3584448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9872" y="1682496"/>
            <a:ext cx="3584448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7680" y="1682496"/>
            <a:ext cx="3584448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23B83A-7861-4464-B771-80F5B0F218FF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6358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977" y="102854"/>
            <a:ext cx="11016193" cy="607259"/>
          </a:xfrm>
        </p:spPr>
        <p:txBody>
          <a:bodyPr anchor="ctr">
            <a:normAutofit/>
          </a:bodyPr>
          <a:lstStyle>
            <a:lvl1pPr>
              <a:defRPr sz="2400" b="0">
                <a:solidFill>
                  <a:schemeClr val="tx2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3067" y="6207626"/>
            <a:ext cx="11385867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6300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A8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21194-A9EC-4654-83A6-76BC0E1C3CB1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44"/>
            <a:ext cx="12192000" cy="6858000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0" y="3052688"/>
            <a:ext cx="8384345" cy="1435907"/>
          </a:xfrm>
        </p:spPr>
        <p:txBody>
          <a:bodyPr anchor="ctr">
            <a:normAutofit/>
          </a:bodyPr>
          <a:lstStyle>
            <a:lvl1pPr marL="0" indent="0">
              <a:buNone/>
              <a:defRPr sz="4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buNone/>
            </a:pPr>
            <a:r>
              <a:rPr lang="en-US" sz="3600" dirty="0"/>
              <a:t>Cognizant </a:t>
            </a:r>
            <a:r>
              <a:rPr lang="en-US" sz="3600" dirty="0" smtClean="0"/>
              <a:t>Overview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5150824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2"/>
          <p:cNvSpPr>
            <a:spLocks noGrp="1"/>
          </p:cNvSpPr>
          <p:nvPr>
            <p:ph type="title"/>
          </p:nvPr>
        </p:nvSpPr>
        <p:spPr>
          <a:xfrm>
            <a:off x="228601" y="12701"/>
            <a:ext cx="9632183" cy="60725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1783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195" y="80683"/>
            <a:ext cx="11231703" cy="618088"/>
          </a:xfrm>
        </p:spPr>
        <p:txBody>
          <a:bodyPr anchor="t"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568" y="6254496"/>
            <a:ext cx="11178867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 userDrawn="1"/>
        </p:nvGrpSpPr>
        <p:grpSpPr>
          <a:xfrm>
            <a:off x="8346971" y="6313677"/>
            <a:ext cx="3570076" cy="452883"/>
            <a:chOff x="6260228" y="4735258"/>
            <a:chExt cx="2677557" cy="33966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B0FBDCD-BEEF-402D-8FD6-B67C618D65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260228" y="4800600"/>
              <a:ext cx="1278163" cy="27432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FD629B7-D7D0-6549-9CA9-644D7A0D14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6212" y="4735258"/>
              <a:ext cx="1301573" cy="3055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22104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16" y="365760"/>
            <a:ext cx="11173968" cy="4572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440" y="6452616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9016" y="6452616"/>
            <a:ext cx="304800" cy="207264"/>
          </a:xfrm>
        </p:spPr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9016" y="6254496"/>
            <a:ext cx="1117396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 userDrawn="1"/>
        </p:nvGrpSpPr>
        <p:grpSpPr>
          <a:xfrm>
            <a:off x="7689259" y="6373368"/>
            <a:ext cx="3993725" cy="365760"/>
            <a:chOff x="7689259" y="6373368"/>
            <a:chExt cx="3993725" cy="36576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E5CE040-C0D3-40BD-8063-A2DF101E8B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7689259" y="6373368"/>
              <a:ext cx="1704217" cy="36576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14487" y="6373368"/>
              <a:ext cx="1968497" cy="2834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05049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16" y="365760"/>
            <a:ext cx="11173968" cy="4572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440" y="6452616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9016" y="6452616"/>
            <a:ext cx="304800" cy="207264"/>
          </a:xfrm>
        </p:spPr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9016" y="6254496"/>
            <a:ext cx="1117396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8346971" y="6313677"/>
            <a:ext cx="3570076" cy="452883"/>
            <a:chOff x="6260228" y="4735258"/>
            <a:chExt cx="2677557" cy="33966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B0FBDCD-BEEF-402D-8FD6-B67C618D65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6260228" y="4800600"/>
              <a:ext cx="1278163" cy="27432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FD629B7-D7D0-6549-9CA9-644D7A0D14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6212" y="4735258"/>
              <a:ext cx="1301573" cy="3055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38747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977" y="102854"/>
            <a:ext cx="11016193" cy="607259"/>
          </a:xfrm>
        </p:spPr>
        <p:txBody>
          <a:bodyPr anchor="ctr">
            <a:normAutofit/>
          </a:bodyPr>
          <a:lstStyle>
            <a:lvl1pPr>
              <a:defRPr sz="2400" b="0">
                <a:solidFill>
                  <a:schemeClr val="tx2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3067" y="6207626"/>
            <a:ext cx="11385867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6997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35981"/>
            <a:ext cx="12192000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609601" y="512064"/>
            <a:ext cx="3181207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600" y="2255520"/>
            <a:ext cx="6705600" cy="1403461"/>
          </a:xfrm>
        </p:spPr>
        <p:txBody>
          <a:bodyPr anchor="b">
            <a:spAutoFit/>
          </a:bodyPr>
          <a:lstStyle>
            <a:lvl1pPr algn="l">
              <a:defRPr sz="5067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600" y="4157473"/>
            <a:ext cx="6705600" cy="718145"/>
          </a:xfrm>
        </p:spPr>
        <p:txBody>
          <a:bodyPr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600" y="6343036"/>
            <a:ext cx="6705600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600" y="3904765"/>
            <a:ext cx="3048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3582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600" y="2254916"/>
            <a:ext cx="6705600" cy="1403461"/>
          </a:xfrm>
        </p:spPr>
        <p:txBody>
          <a:bodyPr anchor="b">
            <a:spAutoFit/>
          </a:bodyPr>
          <a:lstStyle>
            <a:lvl1pPr algn="l">
              <a:defRPr sz="5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600" y="4157473"/>
            <a:ext cx="6705600" cy="718145"/>
          </a:xfrm>
        </p:spPr>
        <p:txBody>
          <a:bodyPr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600" y="6343036"/>
            <a:ext cx="6705600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904765"/>
            <a:ext cx="3048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512064"/>
            <a:ext cx="3181207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4098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600" y="2254916"/>
            <a:ext cx="6705600" cy="1403461"/>
          </a:xfrm>
        </p:spPr>
        <p:txBody>
          <a:bodyPr anchor="b">
            <a:spAutoFit/>
          </a:bodyPr>
          <a:lstStyle>
            <a:lvl1pPr algn="l">
              <a:defRPr sz="5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600" y="4157473"/>
            <a:ext cx="6705600" cy="718145"/>
          </a:xfrm>
        </p:spPr>
        <p:txBody>
          <a:bodyPr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92" indent="-304792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600" y="6343036"/>
            <a:ext cx="6705600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904765"/>
            <a:ext cx="3048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512064"/>
            <a:ext cx="3181207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0312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8032" y="1682496"/>
            <a:ext cx="6855968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943" indent="-377943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7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585" lvl="1" indent="-609585">
              <a:buNone/>
            </a:pPr>
            <a:endParaRPr kumimoji="0" lang="en-US" sz="3733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8000" y="1682495"/>
            <a:ext cx="3676651" cy="4425696"/>
          </a:xfrm>
          <a:noFill/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7EE7B-3CDB-4D02-A032-9F89506B55AF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261" y="6254496"/>
            <a:ext cx="1117886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3156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936" y="1682496"/>
            <a:ext cx="11180064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943" indent="-377943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7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530C56-F2A4-4081-8A37-89FE2B458A0E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261" y="6254496"/>
            <a:ext cx="1117886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341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000" y="295049"/>
            <a:ext cx="9144000" cy="590322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rgbClr val="00A8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2514" y="1219200"/>
            <a:ext cx="10145486" cy="40386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C173-CE57-4271-BE00-3588BB555903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1161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064" y="1682496"/>
            <a:ext cx="11180064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B25B15-E3D7-4243-AAE1-59F83F981C39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4881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82496"/>
            <a:ext cx="5486400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5727" y="1682496"/>
            <a:ext cx="5486400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B5BED-D6C8-40B5-9027-18E8526DD204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766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2-Column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2E99A-11B3-4572-AF49-8C29B9699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125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40DFAA-C481-4FB6-91AE-F3350B8D70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2064" y="1681163"/>
            <a:ext cx="5486400" cy="768096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>
                <a:solidFill>
                  <a:schemeClr val="tx1"/>
                </a:solidFill>
              </a:defRPr>
            </a:lvl1pPr>
            <a:lvl2pPr marL="0" indent="0">
              <a:buNone/>
              <a:defRPr b="1">
                <a:solidFill>
                  <a:schemeClr val="tx1"/>
                </a:solidFill>
              </a:defRPr>
            </a:lvl2pPr>
            <a:lvl3pPr marL="0" indent="0">
              <a:buNone/>
              <a:defRPr sz="2400" b="1">
                <a:solidFill>
                  <a:schemeClr val="tx1"/>
                </a:solidFill>
              </a:defRPr>
            </a:lvl3pPr>
            <a:lvl4pPr marL="0" indent="0">
              <a:buNone/>
              <a:defRPr sz="2400" b="1">
                <a:solidFill>
                  <a:schemeClr val="tx1"/>
                </a:solidFill>
              </a:defRPr>
            </a:lvl4pPr>
            <a:lvl5pPr marL="0" indent="0">
              <a:buNone/>
              <a:defRPr sz="2400" b="1">
                <a:solidFill>
                  <a:schemeClr val="tx1"/>
                </a:solidFill>
              </a:defRPr>
            </a:lvl5pPr>
            <a:lvl6pPr marL="0" indent="0">
              <a:buNone/>
              <a:defRPr sz="2400" b="1">
                <a:solidFill>
                  <a:schemeClr val="tx1"/>
                </a:solidFill>
              </a:defRPr>
            </a:lvl6pPr>
            <a:lvl7pPr marL="0" indent="0">
              <a:buNone/>
              <a:defRPr sz="2400" b="1">
                <a:solidFill>
                  <a:schemeClr val="tx1"/>
                </a:solidFill>
              </a:defRPr>
            </a:lvl7pPr>
            <a:lvl8pPr marL="0" indent="0">
              <a:buNone/>
              <a:defRPr sz="2400" b="1">
                <a:solidFill>
                  <a:schemeClr val="tx1"/>
                </a:solidFill>
              </a:defRPr>
            </a:lvl8pPr>
            <a:lvl9pPr marL="0" indent="0">
              <a:buNone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6E8CC1-FF60-4957-A42D-8194CAF7C1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2064" y="2505076"/>
            <a:ext cx="5486400" cy="360311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5A43C1-9284-49FF-9858-097A5A251B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9033" y="1681163"/>
            <a:ext cx="5493095" cy="768096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buNone/>
              <a:defRPr sz="2400" b="1">
                <a:solidFill>
                  <a:schemeClr val="tx1"/>
                </a:solidFill>
              </a:defRPr>
            </a:lvl2pPr>
            <a:lvl3pPr marL="0" indent="0">
              <a:buNone/>
              <a:defRPr sz="2400" b="1">
                <a:solidFill>
                  <a:schemeClr val="tx1"/>
                </a:solidFill>
              </a:defRPr>
            </a:lvl3pPr>
            <a:lvl4pPr marL="0" indent="0">
              <a:buNone/>
              <a:defRPr sz="2400" b="1">
                <a:solidFill>
                  <a:schemeClr val="tx1"/>
                </a:solidFill>
              </a:defRPr>
            </a:lvl4pPr>
            <a:lvl5pPr marL="0" indent="0">
              <a:buNone/>
              <a:defRPr sz="2400" b="1">
                <a:solidFill>
                  <a:schemeClr val="tx1"/>
                </a:solidFill>
              </a:defRPr>
            </a:lvl5pPr>
            <a:lvl6pPr marL="0" indent="0">
              <a:buNone/>
              <a:defRPr sz="2400" b="1">
                <a:solidFill>
                  <a:schemeClr val="tx1"/>
                </a:solidFill>
              </a:defRPr>
            </a:lvl6pPr>
            <a:lvl7pPr marL="0" indent="0">
              <a:buNone/>
              <a:defRPr sz="2400" b="1">
                <a:solidFill>
                  <a:schemeClr val="tx1"/>
                </a:solidFill>
              </a:defRPr>
            </a:lvl7pPr>
            <a:lvl8pPr marL="0" indent="0">
              <a:buNone/>
              <a:defRPr sz="2400" b="1">
                <a:solidFill>
                  <a:schemeClr val="tx1"/>
                </a:solidFill>
              </a:defRPr>
            </a:lvl8pPr>
            <a:lvl9pPr marL="0" indent="0">
              <a:buNone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A7AD90-39E3-4265-8B8B-59CFE81D1E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9033" y="2505076"/>
            <a:ext cx="5493095" cy="360311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25C4DC-ABAE-46A6-80EC-5588913FA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C5CEC-502C-4ACF-9426-9202FA19B4DA}" type="datetime1">
              <a:rPr lang="en-US" smtClean="0"/>
              <a:t>5/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BC3ACD-E960-4B1D-8ED2-EA1A736FE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F68F024-F689-477A-A36F-B7F3F4675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A1862-47CF-4764-A7FE-F6E4702566F0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2FACED-1B7D-4C4A-9BF0-C7901963B1FA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DC13708-5FE5-4A50-887E-80784AE8F0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2421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82496"/>
            <a:ext cx="3584448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9872" y="1682496"/>
            <a:ext cx="3584448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7680" y="1682496"/>
            <a:ext cx="3584448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6D1BFB-11A8-44E6-BDA7-F735FBE98233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5747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82496"/>
            <a:ext cx="3584448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9872" y="1682496"/>
            <a:ext cx="7382256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391E7-D3C1-457D-8876-F18784E08C5C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9537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82496"/>
            <a:ext cx="7382256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7680" y="1682496"/>
            <a:ext cx="3584448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A0B6D-600C-4EC6-BDE8-9CB301033989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476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3" y="1682496"/>
            <a:ext cx="11180063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2064" y="2987040"/>
            <a:ext cx="5486400" cy="312115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6067" y="2987040"/>
            <a:ext cx="5486400" cy="312115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9B75CB4-BE1D-4D63-A72F-7ED0E126AD78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6904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3" y="1682496"/>
            <a:ext cx="11180063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2064" y="2987040"/>
            <a:ext cx="5486400" cy="312115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5725" y="2987040"/>
            <a:ext cx="5486400" cy="3121152"/>
          </a:xfrm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880A99F-8435-466E-AEA6-42032C770A44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0072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3" y="1682496"/>
            <a:ext cx="11180063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5725" y="2987040"/>
            <a:ext cx="5486400" cy="312115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2063" y="2987040"/>
            <a:ext cx="5486400" cy="3121152"/>
          </a:xfrm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58D4C82-1175-4852-9D32-680A32A387EF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144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76679"/>
            <a:ext cx="3584448" cy="215798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2064" y="4098770"/>
            <a:ext cx="3584448" cy="201167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5968" y="1676679"/>
            <a:ext cx="3584448" cy="215798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5968" y="4096512"/>
            <a:ext cx="3584448" cy="201167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7680" y="1682496"/>
            <a:ext cx="3584448" cy="215798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7680" y="4096512"/>
            <a:ext cx="3584448" cy="201168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383BEC5-592E-4BA5-9407-8737E51D21D9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33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201576-44CD-44C7-A615-958491E19502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44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596661" y="1177249"/>
            <a:ext cx="40059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</a:t>
            </a:r>
            <a:r>
              <a:rPr lang="en-US" sz="60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endParaRPr lang="en-US" sz="60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6945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82496"/>
            <a:ext cx="5482336" cy="4425696"/>
          </a:xfrm>
        </p:spPr>
        <p:txBody>
          <a:bodyPr/>
          <a:lstStyle>
            <a:lvl1pPr marL="304792" indent="-304792">
              <a:buFont typeface="+mj-lt"/>
              <a:buAutoNum type="arabicPeriod"/>
              <a:defRPr/>
            </a:lvl1pPr>
            <a:lvl2pPr marL="0" indent="0">
              <a:buNone/>
              <a:defRPr sz="1867">
                <a:solidFill>
                  <a:schemeClr val="tx2"/>
                </a:solidFill>
              </a:defRPr>
            </a:lvl2pPr>
            <a:lvl3pPr marL="304792" indent="-304792">
              <a:buClrTx/>
              <a:buSzPct val="125000"/>
              <a:buFont typeface="Arial" panose="020B0604020202020204" pitchFamily="34" charset="0"/>
              <a:buChar char="•"/>
              <a:defRPr sz="1867"/>
            </a:lvl3pPr>
            <a:lvl4pPr marL="609585" indent="-304792">
              <a:buSzPct val="90000"/>
              <a:buFont typeface="Arial" panose="020B0604020202020204" pitchFamily="34" charset="0"/>
              <a:buChar char="–"/>
              <a:defRPr sz="1867"/>
            </a:lvl4pPr>
            <a:lvl5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5pPr>
            <a:lvl6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6pPr>
            <a:lvl7pPr marL="914377" indent="-304792">
              <a:buFont typeface="Courier New" panose="02070309020205020404" pitchFamily="49" charset="0"/>
              <a:buChar char="o"/>
              <a:defRPr sz="1867"/>
            </a:lvl7pPr>
            <a:lvl8pPr marL="914377" indent="-304792">
              <a:buFont typeface="Courier New" panose="02070309020205020404" pitchFamily="49" charset="0"/>
              <a:buChar char="o"/>
              <a:defRPr sz="1867"/>
            </a:lvl8pPr>
            <a:lvl9pPr marL="914377" indent="-304792">
              <a:buClrTx/>
              <a:buFont typeface="Courier New" panose="02070309020205020404" pitchFamily="49" charset="0"/>
              <a:buChar char="o"/>
              <a:defRPr sz="1867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5728" y="1682496"/>
            <a:ext cx="5486400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149CD-C10A-45C4-880B-42B0629A7AC5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8520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82496"/>
            <a:ext cx="5482336" cy="4425696"/>
          </a:xfrm>
        </p:spPr>
        <p:txBody>
          <a:bodyPr/>
          <a:lstStyle>
            <a:lvl1pPr marL="304792" indent="-304792">
              <a:buFont typeface="+mj-lt"/>
              <a:buAutoNum type="arabicPeriod"/>
              <a:defRPr/>
            </a:lvl1pPr>
            <a:lvl2pPr marL="0" indent="0">
              <a:buNone/>
              <a:defRPr sz="1867">
                <a:solidFill>
                  <a:schemeClr val="tx2"/>
                </a:solidFill>
              </a:defRPr>
            </a:lvl2pPr>
            <a:lvl3pPr marL="304792" indent="-304792">
              <a:buClrTx/>
              <a:buSzPct val="125000"/>
              <a:buFont typeface="Arial" panose="020B0604020202020204" pitchFamily="34" charset="0"/>
              <a:buChar char="•"/>
              <a:defRPr sz="1867"/>
            </a:lvl3pPr>
            <a:lvl4pPr marL="609585" indent="-304792">
              <a:buSzPct val="90000"/>
              <a:buFont typeface="Arial" panose="020B0604020202020204" pitchFamily="34" charset="0"/>
              <a:buChar char="–"/>
              <a:defRPr sz="1867"/>
            </a:lvl4pPr>
            <a:lvl5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5pPr>
            <a:lvl6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6pPr>
            <a:lvl7pPr marL="914377" indent="-304792">
              <a:buFont typeface="Courier New" panose="02070309020205020404" pitchFamily="49" charset="0"/>
              <a:buChar char="o"/>
              <a:defRPr sz="1867"/>
            </a:lvl7pPr>
            <a:lvl8pPr marL="914377" indent="-304792">
              <a:buFont typeface="Courier New" panose="02070309020205020404" pitchFamily="49" charset="0"/>
              <a:buChar char="o"/>
              <a:defRPr sz="1867"/>
            </a:lvl8pPr>
            <a:lvl9pPr marL="914377" indent="-304792">
              <a:buClrTx/>
              <a:buFont typeface="Courier New" panose="02070309020205020404" pitchFamily="49" charset="0"/>
              <a:buChar char="o"/>
              <a:defRPr sz="1867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1B3D48-07E4-4A44-91BC-9ECC6E636F43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728" y="1682495"/>
            <a:ext cx="5986272" cy="4425696"/>
          </a:xfrm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88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2064" y="1682496"/>
            <a:ext cx="5482336" cy="4425696"/>
          </a:xfrm>
        </p:spPr>
        <p:txBody>
          <a:bodyPr/>
          <a:lstStyle>
            <a:lvl1pPr marL="304792" indent="-304792">
              <a:buFont typeface="+mj-lt"/>
              <a:buAutoNum type="arabicPeriod"/>
              <a:defRPr/>
            </a:lvl1pPr>
            <a:lvl2pPr marL="0" indent="0">
              <a:buNone/>
              <a:defRPr sz="1867">
                <a:solidFill>
                  <a:schemeClr val="tx2"/>
                </a:solidFill>
              </a:defRPr>
            </a:lvl2pPr>
            <a:lvl3pPr marL="304792" indent="-304792">
              <a:buClrTx/>
              <a:buSzPct val="125000"/>
              <a:buFont typeface="Arial" panose="020B0604020202020204" pitchFamily="34" charset="0"/>
              <a:buChar char="•"/>
              <a:defRPr sz="1867"/>
            </a:lvl3pPr>
            <a:lvl4pPr marL="609585" indent="-304792">
              <a:buSzPct val="90000"/>
              <a:buFont typeface="Arial" panose="020B0604020202020204" pitchFamily="34" charset="0"/>
              <a:buChar char="–"/>
              <a:defRPr sz="1867"/>
            </a:lvl4pPr>
            <a:lvl5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5pPr>
            <a:lvl6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6pPr>
            <a:lvl7pPr marL="914377" indent="-304792">
              <a:buFont typeface="Courier New" panose="02070309020205020404" pitchFamily="49" charset="0"/>
              <a:buChar char="o"/>
              <a:defRPr sz="1867"/>
            </a:lvl7pPr>
            <a:lvl8pPr marL="914377" indent="-304792">
              <a:buFont typeface="Courier New" panose="02070309020205020404" pitchFamily="49" charset="0"/>
              <a:buChar char="o"/>
              <a:defRPr sz="1867"/>
            </a:lvl8pPr>
            <a:lvl9pPr marL="914377" indent="-304792">
              <a:buClrTx/>
              <a:buFont typeface="Courier New" panose="02070309020205020404" pitchFamily="49" charset="0"/>
              <a:buChar char="o"/>
              <a:defRPr sz="1867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F232A-F980-4A3E-BDE1-A1F86453D9A4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5728" y="1682496"/>
            <a:ext cx="5986272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4987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9792" y="1682496"/>
            <a:ext cx="5482336" cy="4425696"/>
          </a:xfrm>
        </p:spPr>
        <p:txBody>
          <a:bodyPr/>
          <a:lstStyle>
            <a:lvl1pPr marL="304792" indent="-304792">
              <a:buFont typeface="+mj-lt"/>
              <a:buAutoNum type="arabicPeriod"/>
              <a:defRPr/>
            </a:lvl1pPr>
            <a:lvl2pPr marL="0" indent="0">
              <a:buNone/>
              <a:defRPr sz="1867">
                <a:solidFill>
                  <a:schemeClr val="tx2"/>
                </a:solidFill>
              </a:defRPr>
            </a:lvl2pPr>
            <a:lvl3pPr marL="304792" indent="-304792">
              <a:buClrTx/>
              <a:buSzPct val="125000"/>
              <a:buFont typeface="Arial" panose="020B0604020202020204" pitchFamily="34" charset="0"/>
              <a:buChar char="•"/>
              <a:defRPr sz="1867"/>
            </a:lvl3pPr>
            <a:lvl4pPr marL="609585" indent="-304792">
              <a:buClrTx/>
              <a:buSzPct val="90000"/>
              <a:buFont typeface="Arial" panose="020B0604020202020204" pitchFamily="34" charset="0"/>
              <a:buChar char="–"/>
              <a:defRPr sz="1867"/>
            </a:lvl4pPr>
            <a:lvl5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5pPr>
            <a:lvl6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6pPr>
            <a:lvl7pPr marL="914377" indent="-304792">
              <a:buClrTx/>
              <a:buFont typeface="Courier New" panose="02070309020205020404" pitchFamily="49" charset="0"/>
              <a:buChar char="o"/>
              <a:defRPr sz="1867"/>
            </a:lvl7pPr>
            <a:lvl8pPr marL="914377" indent="-304792">
              <a:buClrTx/>
              <a:buFont typeface="Courier New" panose="02070309020205020404" pitchFamily="49" charset="0"/>
              <a:buChar char="o"/>
              <a:defRPr sz="1867"/>
            </a:lvl8pPr>
            <a:lvl9pPr marL="914377" indent="-304792">
              <a:buClrTx/>
              <a:buFont typeface="Courier New" panose="02070309020205020404" pitchFamily="49" charset="0"/>
              <a:buChar char="o"/>
              <a:defRPr sz="1867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2064" y="1682496"/>
            <a:ext cx="5486400" cy="442569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B43F14-E68B-4EE5-89CE-D4958161AF52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6859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9792" y="1682496"/>
            <a:ext cx="5482336" cy="4425696"/>
          </a:xfrm>
        </p:spPr>
        <p:txBody>
          <a:bodyPr/>
          <a:lstStyle>
            <a:lvl1pPr marL="304792" indent="-304792">
              <a:buFont typeface="+mj-lt"/>
              <a:buAutoNum type="arabicPeriod"/>
              <a:defRPr/>
            </a:lvl1pPr>
            <a:lvl2pPr marL="0" indent="0">
              <a:buNone/>
              <a:defRPr sz="1867">
                <a:solidFill>
                  <a:schemeClr val="tx2"/>
                </a:solidFill>
              </a:defRPr>
            </a:lvl2pPr>
            <a:lvl3pPr marL="304792" indent="-304792">
              <a:buClrTx/>
              <a:buSzPct val="125000"/>
              <a:buFont typeface="Arial" panose="020B0604020202020204" pitchFamily="34" charset="0"/>
              <a:buChar char="•"/>
              <a:defRPr sz="1867"/>
            </a:lvl3pPr>
            <a:lvl4pPr marL="609585" indent="-304792">
              <a:buClrTx/>
              <a:buSzPct val="90000"/>
              <a:buFont typeface="Arial" panose="020B0604020202020204" pitchFamily="34" charset="0"/>
              <a:buChar char="–"/>
              <a:defRPr sz="1867"/>
            </a:lvl4pPr>
            <a:lvl5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5pPr>
            <a:lvl6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6pPr>
            <a:lvl7pPr marL="914377" indent="-304792">
              <a:buClrTx/>
              <a:buFont typeface="Courier New" panose="02070309020205020404" pitchFamily="49" charset="0"/>
              <a:buChar char="o"/>
              <a:defRPr sz="1867"/>
            </a:lvl7pPr>
            <a:lvl8pPr marL="914377" indent="-304792">
              <a:buClrTx/>
              <a:buFont typeface="Courier New" panose="02070309020205020404" pitchFamily="49" charset="0"/>
              <a:buChar char="o"/>
              <a:defRPr sz="1867"/>
            </a:lvl8pPr>
            <a:lvl9pPr marL="914377" indent="-304792">
              <a:buClrTx/>
              <a:buFont typeface="Courier New" panose="02070309020205020404" pitchFamily="49" charset="0"/>
              <a:buChar char="o"/>
              <a:defRPr sz="1867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2B0B44-FB6A-433E-ABBF-1896C36FBB0D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8464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5314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9792" y="1682496"/>
            <a:ext cx="5482336" cy="4425696"/>
          </a:xfrm>
        </p:spPr>
        <p:txBody>
          <a:bodyPr/>
          <a:lstStyle>
            <a:lvl1pPr marL="304792" indent="-304792">
              <a:buFont typeface="+mj-lt"/>
              <a:buAutoNum type="arabicPeriod"/>
              <a:defRPr/>
            </a:lvl1pPr>
            <a:lvl2pPr marL="0" indent="0">
              <a:buNone/>
              <a:defRPr sz="1867">
                <a:solidFill>
                  <a:schemeClr val="tx2"/>
                </a:solidFill>
              </a:defRPr>
            </a:lvl2pPr>
            <a:lvl3pPr marL="304792" indent="-304792">
              <a:buClrTx/>
              <a:buSzPct val="125000"/>
              <a:buFont typeface="Arial" panose="020B0604020202020204" pitchFamily="34" charset="0"/>
              <a:buChar char="•"/>
              <a:defRPr sz="1867"/>
            </a:lvl3pPr>
            <a:lvl4pPr marL="609585" indent="-304792">
              <a:buClrTx/>
              <a:buSzPct val="90000"/>
              <a:buFont typeface="Arial" panose="020B0604020202020204" pitchFamily="34" charset="0"/>
              <a:buChar char="–"/>
              <a:defRPr sz="1867"/>
            </a:lvl4pPr>
            <a:lvl5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5pPr>
            <a:lvl6pPr marL="914377" indent="-304792">
              <a:buClrTx/>
              <a:buSzPct val="90000"/>
              <a:buFont typeface="Courier New" panose="02070309020205020404" pitchFamily="49" charset="0"/>
              <a:buChar char="o"/>
              <a:defRPr sz="1867"/>
            </a:lvl6pPr>
            <a:lvl7pPr marL="914377" indent="-304792">
              <a:buClrTx/>
              <a:buFont typeface="Courier New" panose="02070309020205020404" pitchFamily="49" charset="0"/>
              <a:buChar char="o"/>
              <a:defRPr sz="1867"/>
            </a:lvl7pPr>
            <a:lvl8pPr marL="914377" indent="-304792">
              <a:buClrTx/>
              <a:buFont typeface="Courier New" panose="02070309020205020404" pitchFamily="49" charset="0"/>
              <a:buChar char="o"/>
              <a:defRPr sz="1867"/>
            </a:lvl8pPr>
            <a:lvl9pPr marL="914377" indent="-304792">
              <a:buClrTx/>
              <a:buFont typeface="Courier New" panose="02070309020205020404" pitchFamily="49" charset="0"/>
              <a:buChar char="o"/>
              <a:defRPr sz="1867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48F1E-53CB-4D81-8B72-253B60DB8EA9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8464" cy="4425696"/>
          </a:xfrm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2624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3176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7296" y="1633728"/>
            <a:ext cx="8961120" cy="2292096"/>
          </a:xfrm>
        </p:spPr>
        <p:txBody>
          <a:bodyPr anchor="t" anchorCtr="0">
            <a:noAutofit/>
          </a:bodyPr>
          <a:lstStyle>
            <a:lvl1pPr>
              <a:defRPr sz="5867">
                <a:solidFill>
                  <a:schemeClr val="tx1"/>
                </a:solidFill>
              </a:defRPr>
            </a:lvl1pPr>
            <a:lvl2pPr marL="309026" indent="-309026">
              <a:buNone/>
              <a:defRPr sz="5867">
                <a:solidFill>
                  <a:schemeClr val="tx1"/>
                </a:solidFill>
              </a:defRPr>
            </a:lvl2pPr>
            <a:lvl3pPr marL="304792" indent="-304792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5200" y="6400800"/>
            <a:ext cx="1219200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E0497C1-6D1A-40D1-BE0A-0C3FD721A29F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7295" y="6400800"/>
            <a:ext cx="6096000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528" y="6400800"/>
            <a:ext cx="3048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7295" y="1463040"/>
            <a:ext cx="8961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153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712" y="1633728"/>
            <a:ext cx="8961120" cy="2292096"/>
          </a:xfrm>
        </p:spPr>
        <p:txBody>
          <a:bodyPr anchor="t" anchorCtr="0">
            <a:noAutofit/>
          </a:bodyPr>
          <a:lstStyle>
            <a:lvl1pPr>
              <a:defRPr sz="5867">
                <a:solidFill>
                  <a:schemeClr val="tx1"/>
                </a:solidFill>
              </a:defRPr>
            </a:lvl1pPr>
            <a:lvl2pPr marL="309026" indent="-309026">
              <a:buNone/>
              <a:defRPr sz="5867">
                <a:solidFill>
                  <a:schemeClr val="tx1"/>
                </a:solidFill>
              </a:defRPr>
            </a:lvl2pPr>
            <a:lvl3pPr marL="304792" indent="-304792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96A7-1A7D-45A8-A31B-03DF0E3EFA66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712" y="6400800"/>
            <a:ext cx="6096000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528" y="6400800"/>
            <a:ext cx="304800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712" y="1463040"/>
            <a:ext cx="89611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2002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712" y="1633728"/>
            <a:ext cx="8961120" cy="2292096"/>
          </a:xfrm>
        </p:spPr>
        <p:txBody>
          <a:bodyPr anchor="t" anchorCtr="0">
            <a:noAutofit/>
          </a:bodyPr>
          <a:lstStyle>
            <a:lvl1pPr>
              <a:defRPr sz="5867">
                <a:solidFill>
                  <a:schemeClr val="bg1"/>
                </a:solidFill>
              </a:defRPr>
            </a:lvl1pPr>
            <a:lvl2pPr marL="309026" indent="-309026">
              <a:buNone/>
              <a:defRPr sz="5867">
                <a:solidFill>
                  <a:schemeClr val="bg1"/>
                </a:solidFill>
              </a:defRPr>
            </a:lvl2pPr>
            <a:lvl3pPr marL="304792" indent="-304792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3F00FC-96CB-4870-8A6C-205589D07968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712" y="6400800"/>
            <a:ext cx="60960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528" y="6400800"/>
            <a:ext cx="304800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712" y="1463040"/>
            <a:ext cx="896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594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26A491-843F-4B90-9A5F-384E8AF54403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7074" y="6320119"/>
            <a:ext cx="1526997" cy="368626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177391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B5CC71-F807-4D94-8A8D-A04B9AC1E251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2846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5" y="365760"/>
            <a:ext cx="11176583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914E84-53F7-4193-B635-97E15F229040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2695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972AF4C-B305-47DC-A830-381B61582FF1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800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91999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2064" y="365760"/>
            <a:ext cx="11180064" cy="36576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EA4F389-A6EA-4197-B161-086E39AF9125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1308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7F6C453-0D1E-4181-A05B-7FA24ED8BEEC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4507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92000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5" y="365760"/>
            <a:ext cx="11176583" cy="1060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38D12DE-5521-4A49-918B-A0B6FBB87332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1513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5728" y="365762"/>
            <a:ext cx="5486400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8464" cy="6096000"/>
          </a:xfrm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76A3485-2460-4363-A97F-1602A6A0BF49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0679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5728" y="365760"/>
            <a:ext cx="5486400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8633" cy="6096000"/>
          </a:xfrm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972E5F-C46C-49DD-8680-697A9D531D0B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567" y="6254496"/>
            <a:ext cx="11178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81217" y="6373368"/>
            <a:ext cx="1704217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954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7968"/>
            <a:ext cx="12177836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864" y="2438400"/>
            <a:ext cx="10363200" cy="438912"/>
          </a:xfrm>
        </p:spPr>
        <p:txBody>
          <a:bodyPr anchor="b" anchorCtr="0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864" y="3255264"/>
            <a:ext cx="10363200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0" indent="0">
              <a:buNone/>
              <a:defRPr sz="2667">
                <a:solidFill>
                  <a:schemeClr val="tx1"/>
                </a:solidFill>
              </a:defRPr>
            </a:lvl2pPr>
            <a:lvl3pPr marL="0" indent="0">
              <a:buNone/>
              <a:defRPr sz="2667">
                <a:solidFill>
                  <a:schemeClr val="tx1"/>
                </a:solidFill>
              </a:defRPr>
            </a:lvl3pPr>
            <a:lvl4pPr marL="0" indent="0">
              <a:buNone/>
              <a:defRPr sz="2667">
                <a:solidFill>
                  <a:schemeClr val="tx1"/>
                </a:solidFill>
              </a:defRPr>
            </a:lvl4pPr>
            <a:lvl5pPr marL="0" indent="0">
              <a:buNone/>
              <a:defRPr sz="2667">
                <a:solidFill>
                  <a:schemeClr val="tx1"/>
                </a:solidFill>
              </a:defRPr>
            </a:lvl5pPr>
            <a:lvl6pPr marL="0" indent="0">
              <a:buNone/>
              <a:defRPr sz="2667">
                <a:solidFill>
                  <a:schemeClr val="tx1"/>
                </a:solidFill>
              </a:defRPr>
            </a:lvl6pPr>
            <a:lvl7pPr marL="0" indent="0">
              <a:buNone/>
              <a:defRPr sz="2667">
                <a:solidFill>
                  <a:schemeClr val="tx1"/>
                </a:solidFill>
              </a:defRPr>
            </a:lvl7pPr>
            <a:lvl8pPr marL="0" indent="0">
              <a:buNone/>
              <a:defRPr sz="2667">
                <a:solidFill>
                  <a:schemeClr val="tx1"/>
                </a:solidFill>
              </a:defRPr>
            </a:lvl8pPr>
            <a:lvl9pPr marL="0" indent="0">
              <a:buNone/>
              <a:defRPr sz="2667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4203" y="-1296363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851" y="3066288"/>
            <a:ext cx="2478245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392930" y="512064"/>
            <a:ext cx="3181207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9801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59AD0D-A471-4131-9AF8-1B3D0AA30C24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011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4A02DF-CF68-4E4F-BA22-CD84F20C1334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164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DB2C5-6DD5-4F3D-8D32-30DBAD8D033A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786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2197C-74A5-41E7-A80B-58EDA79D544D}" type="datetime1">
              <a:rPr lang="en-US" smtClean="0"/>
              <a:t>5/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637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A43CC-65BB-4A23-BD71-C5E73E14F44B}" type="datetime1">
              <a:rPr lang="en-US" smtClean="0"/>
              <a:t>5/6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6578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slideLayout" Target="../slideLayouts/slideLayout58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slideLayout" Target="../slideLayouts/slideLayout5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slideLayout" Target="../slideLayouts/slideLayout56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slideLayout" Target="../slideLayouts/slideLayout55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EEABA-BC77-46D3-B99A-6639342EE5F8}" type="datetime1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06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BF22CA-A36B-4105-B3F0-7964EB763159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284890"/>
            <a:ext cx="12192000" cy="0"/>
          </a:xfrm>
          <a:prstGeom prst="line">
            <a:avLst/>
          </a:prstGeom>
          <a:ln w="19050">
            <a:solidFill>
              <a:srgbClr val="00A8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0684" y="6399596"/>
            <a:ext cx="1165610" cy="281385"/>
          </a:xfrm>
          <a:prstGeom prst="rect">
            <a:avLst/>
          </a:prstGeom>
          <a:effectLst/>
        </p:spPr>
      </p:pic>
      <p:cxnSp>
        <p:nvCxnSpPr>
          <p:cNvPr id="11" name="Straight Connector 10"/>
          <p:cNvCxnSpPr/>
          <p:nvPr userDrawn="1"/>
        </p:nvCxnSpPr>
        <p:spPr>
          <a:xfrm>
            <a:off x="10645140" y="6407248"/>
            <a:ext cx="0" cy="2813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9682" y="6435479"/>
            <a:ext cx="1077280" cy="231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259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50" r:id="rId6"/>
    <p:sldLayoutId id="2147483651" r:id="rId7"/>
    <p:sldLayoutId id="2147483652" r:id="rId8"/>
    <p:sldLayoutId id="2147483653" r:id="rId9"/>
    <p:sldLayoutId id="2147483654" r:id="rId10"/>
    <p:sldLayoutId id="2147483655" r:id="rId11"/>
    <p:sldLayoutId id="2147483656" r:id="rId12"/>
    <p:sldLayoutId id="2147483657" r:id="rId13"/>
    <p:sldLayoutId id="2147483658" r:id="rId14"/>
    <p:sldLayoutId id="2147483659" r:id="rId15"/>
    <p:sldLayoutId id="2147484026" r:id="rId16"/>
    <p:sldLayoutId id="2147484027" r:id="rId17"/>
    <p:sldLayoutId id="2147484028" r:id="rId18"/>
    <p:sldLayoutId id="2147484094" r:id="rId19"/>
    <p:sldLayoutId id="2147484088" r:id="rId20"/>
    <p:sldLayoutId id="2147484089" r:id="rId21"/>
    <p:sldLayoutId id="2147484090" r:id="rId22"/>
    <p:sldLayoutId id="2147484091" r:id="rId23"/>
    <p:sldLayoutId id="2147484093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65760"/>
            <a:ext cx="11180064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2064" y="1682496"/>
            <a:ext cx="11180064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5200" y="6400800"/>
            <a:ext cx="1219200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1BBDD10-1653-4206-81D8-CCB5B83260D1}" type="datetime1">
              <a:rPr lang="en-US" smtClean="0"/>
              <a:t>5/6/2020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440" y="6400800"/>
            <a:ext cx="6096000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2064" y="6400800"/>
            <a:ext cx="304800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528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2" r:id="rId13"/>
    <p:sldLayoutId id="2147484043" r:id="rId14"/>
    <p:sldLayoutId id="2147484044" r:id="rId15"/>
    <p:sldLayoutId id="2147484045" r:id="rId16"/>
    <p:sldLayoutId id="2147484046" r:id="rId17"/>
    <p:sldLayoutId id="2147484047" r:id="rId18"/>
    <p:sldLayoutId id="2147484048" r:id="rId19"/>
    <p:sldLayoutId id="2147484049" r:id="rId20"/>
    <p:sldLayoutId id="2147484050" r:id="rId21"/>
    <p:sldLayoutId id="2147484051" r:id="rId22"/>
    <p:sldLayoutId id="2147484052" r:id="rId23"/>
    <p:sldLayoutId id="2147484053" r:id="rId24"/>
    <p:sldLayoutId id="2147484054" r:id="rId25"/>
    <p:sldLayoutId id="2147484055" r:id="rId26"/>
    <p:sldLayoutId id="2147484056" r:id="rId27"/>
    <p:sldLayoutId id="2147484057" r:id="rId28"/>
    <p:sldLayoutId id="2147484058" r:id="rId29"/>
    <p:sldLayoutId id="2147484059" r:id="rId30"/>
    <p:sldLayoutId id="2147484060" r:id="rId31"/>
    <p:sldLayoutId id="2147484061" r:id="rId32"/>
    <p:sldLayoutId id="2147484062" r:id="rId33"/>
    <p:sldLayoutId id="2147484095" r:id="rId3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92" indent="-304792" algn="l" defTabSz="1219170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585" indent="-304792" algn="l" defTabSz="1219170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377" indent="-304792" algn="l" defTabSz="1219170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9170" indent="-304792" algn="l" defTabSz="1219170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962" indent="-304792" algn="l" defTabSz="1219170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754" indent="-304792" algn="l" defTabSz="1219170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547" indent="-304792" algn="l" defTabSz="1219170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547" indent="-304792" algn="l" defTabSz="1219170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image" Target="../media/image20.jpeg"/><Relationship Id="rId7" Type="http://schemas.microsoft.com/office/2007/relationships/hdphoto" Target="../media/hdphoto1.wdp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image" Target="../media/image19.png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3.png"/><Relationship Id="rId11" Type="http://schemas.openxmlformats.org/officeDocument/2006/relationships/image" Target="../media/image27.png"/><Relationship Id="rId5" Type="http://schemas.openxmlformats.org/officeDocument/2006/relationships/image" Target="../media/image22.png"/><Relationship Id="rId15" Type="http://schemas.openxmlformats.org/officeDocument/2006/relationships/image" Target="../media/image31.jpe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image" Target="../media/image21.jpe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3" Type="http://schemas.openxmlformats.org/officeDocument/2006/relationships/image" Target="../media/image37.png"/><Relationship Id="rId21" Type="http://schemas.openxmlformats.org/officeDocument/2006/relationships/image" Target="../media/image54.jpeg"/><Relationship Id="rId7" Type="http://schemas.openxmlformats.org/officeDocument/2006/relationships/image" Target="../media/image40.png"/><Relationship Id="rId12" Type="http://schemas.openxmlformats.org/officeDocument/2006/relationships/image" Target="../media/image45.jpeg"/><Relationship Id="rId17" Type="http://schemas.openxmlformats.org/officeDocument/2006/relationships/image" Target="../media/image50.png"/><Relationship Id="rId2" Type="http://schemas.openxmlformats.org/officeDocument/2006/relationships/image" Target="../media/image36.png"/><Relationship Id="rId16" Type="http://schemas.openxmlformats.org/officeDocument/2006/relationships/image" Target="../media/image49.gif"/><Relationship Id="rId20" Type="http://schemas.openxmlformats.org/officeDocument/2006/relationships/image" Target="../media/image53.jpe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9.png"/><Relationship Id="rId11" Type="http://schemas.openxmlformats.org/officeDocument/2006/relationships/image" Target="../media/image44.jpeg"/><Relationship Id="rId24" Type="http://schemas.openxmlformats.org/officeDocument/2006/relationships/image" Target="../media/image57.png"/><Relationship Id="rId5" Type="http://schemas.openxmlformats.org/officeDocument/2006/relationships/image" Target="../media/image26.png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10" Type="http://schemas.openxmlformats.org/officeDocument/2006/relationships/image" Target="../media/image43.png"/><Relationship Id="rId19" Type="http://schemas.openxmlformats.org/officeDocument/2006/relationships/image" Target="../media/image52.jpeg"/><Relationship Id="rId4" Type="http://schemas.openxmlformats.org/officeDocument/2006/relationships/image" Target="../media/image38.png"/><Relationship Id="rId9" Type="http://schemas.openxmlformats.org/officeDocument/2006/relationships/image" Target="../media/image42.jpeg"/><Relationship Id="rId14" Type="http://schemas.openxmlformats.org/officeDocument/2006/relationships/image" Target="../media/image47.png"/><Relationship Id="rId22" Type="http://schemas.openxmlformats.org/officeDocument/2006/relationships/image" Target="../media/image55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image" Target="../media/image58.png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image" Target="../media/image59.png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slideLayout" Target="../slideLayouts/slideLayout49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Arun.Prasad@cognizant.com" TargetMode="External"/><Relationship Id="rId2" Type="http://schemas.openxmlformats.org/officeDocument/2006/relationships/hyperlink" Target="mailto:PARAMESWARAN.KAVASSERYVENKATACHALAM@cognizant.com" TargetMode="External"/><Relationship Id="rId1" Type="http://schemas.openxmlformats.org/officeDocument/2006/relationships/slideLayout" Target="../slideLayouts/slideLayout49.xml"/><Relationship Id="rId5" Type="http://schemas.openxmlformats.org/officeDocument/2006/relationships/hyperlink" Target="mailto:Sethuraman.Chandrasekaran@cognizant.com" TargetMode="External"/><Relationship Id="rId4" Type="http://schemas.openxmlformats.org/officeDocument/2006/relationships/hyperlink" Target="mailto:KarthikS.Moorthy@cognizant.com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04912" y="6113421"/>
            <a:ext cx="5809956" cy="0"/>
          </a:xfrm>
          <a:prstGeom prst="line">
            <a:avLst/>
          </a:prstGeom>
          <a:ln>
            <a:solidFill>
              <a:schemeClr val="bg1">
                <a:alpha val="3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4912" y="4903596"/>
            <a:ext cx="6875388" cy="1026942"/>
          </a:xfrm>
        </p:spPr>
        <p:txBody>
          <a:bodyPr>
            <a:noAutofit/>
          </a:bodyPr>
          <a:lstStyle/>
          <a:p>
            <a:pPr algn="l"/>
            <a:r>
              <a:rPr lang="en-US" sz="4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ght House Financials – </a:t>
            </a:r>
            <a:r>
              <a:rPr lang="en-US" sz="4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Boarding</a:t>
            </a:r>
            <a:r>
              <a:rPr lang="en-US" sz="4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ference</a:t>
            </a:r>
            <a:endParaRPr lang="en-US" sz="4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605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4" y="209007"/>
            <a:ext cx="11180064" cy="1060704"/>
          </a:xfrm>
        </p:spPr>
        <p:txBody>
          <a:bodyPr/>
          <a:lstStyle/>
          <a:p>
            <a:r>
              <a:rPr lang="en-US" dirty="0" smtClean="0"/>
              <a:t>Cognizant team expectation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90095" y="1017654"/>
            <a:ext cx="1071915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Onshore and offshore associates are expected to provide on call support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Sensitivity towards Bright House SMEs and Incumbent SMEs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nsure there is minimal impact to BAU due to existing support SMEs involvement in Transition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In KA sessions, stick to the AS-IS scope and any improvements will be done during stabilization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void Scope discussions with the incumbent SMEs (bring it to Management notice)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ake Notes and ensure to send Minutes of the Meeting (use MOM template) to document key communications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ublish artifacts to the customer 24 hours in advance for any meetings / reviews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Give the recipient enough time to respond before following up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ustomer Deliverables have to be peer reviewed before submission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1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 smtClean="0">
                <a:solidFill>
                  <a:srgbClr val="0033A0"/>
                </a:solidFill>
              </a:rPr>
              <a:t>Transformation/Tool Implementation Timeline 1/3</a:t>
            </a:r>
            <a:endParaRPr lang="en-US" kern="0" dirty="0">
              <a:solidFill>
                <a:srgbClr val="0033A0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11</a:t>
            </a:fld>
            <a:endParaRPr lang="en-US"/>
          </a:p>
        </p:txBody>
      </p:sp>
      <p:sp>
        <p:nvSpPr>
          <p:cNvPr id="1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518" y="892844"/>
            <a:ext cx="11302964" cy="5072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1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 smtClean="0">
                <a:solidFill>
                  <a:srgbClr val="0033A0"/>
                </a:solidFill>
              </a:rPr>
              <a:t>Transformation/Tool Implementation Timeline 2/3</a:t>
            </a:r>
            <a:endParaRPr lang="en-US" kern="0" dirty="0">
              <a:solidFill>
                <a:srgbClr val="0033A0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12</a:t>
            </a:fld>
            <a:endParaRPr lang="en-US"/>
          </a:p>
        </p:txBody>
      </p:sp>
      <p:sp>
        <p:nvSpPr>
          <p:cNvPr id="1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992" y="1040675"/>
            <a:ext cx="10876207" cy="500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07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 smtClean="0">
                <a:solidFill>
                  <a:srgbClr val="0033A0"/>
                </a:solidFill>
              </a:rPr>
              <a:t>Transformation/Tool Implementation Timeline 3/3</a:t>
            </a:r>
            <a:endParaRPr lang="en-US" kern="0" dirty="0">
              <a:solidFill>
                <a:srgbClr val="0033A0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13</a:t>
            </a:fld>
            <a:endParaRPr lang="en-US"/>
          </a:p>
        </p:txBody>
      </p:sp>
      <p:sp>
        <p:nvSpPr>
          <p:cNvPr id="1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864" y="629412"/>
            <a:ext cx="10004403" cy="545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993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 smtClean="0">
                <a:solidFill>
                  <a:srgbClr val="0033A0"/>
                </a:solidFill>
              </a:rPr>
              <a:t>Cloud Comput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14</a:t>
            </a:fld>
            <a:endParaRPr lang="en-US"/>
          </a:p>
        </p:txBody>
      </p:sp>
      <p:sp>
        <p:nvSpPr>
          <p:cNvPr id="10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73964" y="800100"/>
            <a:ext cx="11338215" cy="316971"/>
          </a:xfrm>
          <a:prstGeom prst="rect">
            <a:avLst/>
          </a:prstGeom>
          <a:solidFill>
            <a:schemeClr val="accent4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oud Computing</a:t>
            </a:r>
            <a:endParaRPr lang="en-US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4491189" y="1345671"/>
            <a:ext cx="3223260" cy="1938992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bbix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OS, DB &amp; MW Monitoring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Now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ITSM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BM </a:t>
            </a: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gfix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Server Patch Management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oud native monitoring tools (Azure Monitor &amp; AWS </a:t>
            </a: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oudwatch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sible</a:t>
            </a: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ogsoft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Event Management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oud native backups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Now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porting &amp; Incumbent provided reporting tools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4491189" y="1117071"/>
            <a:ext cx="3223260" cy="228600"/>
          </a:xfrm>
          <a:prstGeom prst="rect">
            <a:avLst/>
          </a:prstGeom>
          <a:solidFill>
            <a:srgbClr val="0033A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wer Specific Tools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464654"/>
              </p:ext>
            </p:extLst>
          </p:nvPr>
        </p:nvGraphicFramePr>
        <p:xfrm>
          <a:off x="473963" y="1117071"/>
          <a:ext cx="3952876" cy="3670464"/>
        </p:xfrm>
        <a:graphic>
          <a:graphicData uri="http://schemas.openxmlformats.org/drawingml/2006/table">
            <a:tbl>
              <a:tblPr firstRow="1" bandRow="1"/>
              <a:tblGrid>
                <a:gridCol w="2733676">
                  <a:extLst>
                    <a:ext uri="{9D8B030D-6E8A-4147-A177-3AD203B41FA5}">
                      <a16:colId xmlns:a16="http://schemas.microsoft.com/office/drawing/2014/main" val="100685723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3450395940"/>
                    </a:ext>
                  </a:extLst>
                </a:gridCol>
              </a:tblGrid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rvice  line items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tails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94001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regions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en-US" sz="11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 East and US West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3569548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 regions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 East 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023426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: Windows - Prod, UAT, Test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8932708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: Windows - Dev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9080271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: Linux - Prod, UAT, Test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3451896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: Linux - Dev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0848957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AD servers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5914181"/>
                  </a:ext>
                </a:extLst>
              </a:tr>
              <a:tr h="12687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ndows 2016 Web Application Proxy for ADFS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5693866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ndows PKI servers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123826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File Server Size in TB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180840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adbalanc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978584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: Windows - Prod,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6382554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: Windows - Non Prod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317549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: Linux - Prod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1166815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: Linux - Non Prod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0989285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 Windows SQL Instance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1922964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 Linux DB instance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8825767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adbalanc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931022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 Storage burst capacity - TB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5024393"/>
                  </a:ext>
                </a:extLst>
              </a:tr>
              <a:tr h="1644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ftLayer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M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 (Not in Scope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6165850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7778799" y="1345671"/>
            <a:ext cx="4033380" cy="1015663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6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All business tiers are at Platinum: RPO - &lt;15 min, RTO &lt; 1 Hour</a:t>
            </a:r>
          </a:p>
          <a:p>
            <a:pPr marL="171446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loud native tools to support the DR</a:t>
            </a:r>
          </a:p>
          <a:p>
            <a:pPr marL="171446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Annual DR Test for Core Infrastructure</a:t>
            </a:r>
          </a:p>
          <a:p>
            <a:pPr marL="171446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For others, it is based on critical application requiremen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798195" y="1117335"/>
            <a:ext cx="4013983" cy="2283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CP/D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785495" y="2637296"/>
            <a:ext cx="4013983" cy="461665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6" lvl="1" indent="-171446" defTabSz="914340" fontAlgn="ctr">
              <a:buSzPct val="100000"/>
              <a:buFont typeface="Wingdings" panose="05000000000000000000" pitchFamily="2" charset="2"/>
              <a:buChar char="§"/>
              <a:tabLst>
                <a:tab pos="1606510" algn="l"/>
              </a:tabLst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loud Connectivity – fully redundant Azure Express Route and AWS Direct Connect through Equinix Cloud Platform</a:t>
            </a:r>
            <a:r>
              <a:rPr lang="en-US" sz="1200" kern="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.</a:t>
            </a:r>
            <a:endParaRPr lang="en-US" sz="1200" kern="0" dirty="0">
              <a:solidFill>
                <a:prstClr val="black"/>
              </a:solidFill>
              <a:latin typeface="Calibri" panose="020F0502020204030204" pitchFamily="34" charset="0"/>
              <a:ea typeface="ＭＳ Ｐゴシック" pitchFamily="-12" charset="-128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790048" y="2429478"/>
            <a:ext cx="4009430" cy="207818"/>
          </a:xfrm>
          <a:prstGeom prst="rect">
            <a:avLst/>
          </a:prstGeom>
          <a:solidFill>
            <a:srgbClr val="0033A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tworking &amp; Network Tool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03889" y="3548168"/>
            <a:ext cx="3223260" cy="276999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6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16x5 on floor + on call for P1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503889" y="3322763"/>
            <a:ext cx="3223259" cy="240624"/>
          </a:xfrm>
          <a:prstGeom prst="rect">
            <a:avLst/>
          </a:prstGeom>
          <a:solidFill>
            <a:srgbClr val="328DFF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 Window</a:t>
            </a:r>
          </a:p>
        </p:txBody>
      </p:sp>
    </p:spTree>
    <p:extLst>
      <p:ext uri="{BB962C8B-B14F-4D97-AF65-F5344CB8AC3E}">
        <p14:creationId xmlns:p14="http://schemas.microsoft.com/office/powerpoint/2010/main" val="982141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 smtClean="0">
                <a:solidFill>
                  <a:srgbClr val="0033A0"/>
                </a:solidFill>
              </a:rPr>
              <a:t>Network Services</a:t>
            </a:r>
            <a:r>
              <a:rPr lang="en-US" kern="0" dirty="0">
                <a:solidFill>
                  <a:srgbClr val="0033A0"/>
                </a:solidFill>
              </a:rPr>
              <a:t/>
            </a:r>
            <a:br>
              <a:rPr lang="en-US" kern="0" dirty="0">
                <a:solidFill>
                  <a:srgbClr val="0033A0"/>
                </a:solidFill>
              </a:rPr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15</a:t>
            </a:fld>
            <a:endParaRPr lang="en-US"/>
          </a:p>
        </p:txBody>
      </p:sp>
      <p:sp>
        <p:nvSpPr>
          <p:cNvPr id="10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1451864" y="800100"/>
            <a:ext cx="8218385" cy="316971"/>
          </a:xfrm>
          <a:prstGeom prst="rect">
            <a:avLst/>
          </a:prstGeom>
          <a:solidFill>
            <a:schemeClr val="accent4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twork Services</a:t>
            </a:r>
            <a:endParaRPr lang="en-US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6446989" y="1345671"/>
            <a:ext cx="3223260" cy="646331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raki Dashboard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tbrain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wned by Incumbent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reshark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6446989" y="1117071"/>
            <a:ext cx="3223260" cy="228600"/>
          </a:xfrm>
          <a:prstGeom prst="rect">
            <a:avLst/>
          </a:prstGeom>
          <a:solidFill>
            <a:srgbClr val="0033A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wer Specific Tools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5358627"/>
              </p:ext>
            </p:extLst>
          </p:nvPr>
        </p:nvGraphicFramePr>
        <p:xfrm>
          <a:off x="1451864" y="1117071"/>
          <a:ext cx="4917358" cy="4794540"/>
        </p:xfrm>
        <a:graphic>
          <a:graphicData uri="http://schemas.openxmlformats.org/drawingml/2006/table">
            <a:tbl>
              <a:tblPr/>
              <a:tblGrid>
                <a:gridCol w="1864453">
                  <a:extLst>
                    <a:ext uri="{9D8B030D-6E8A-4147-A177-3AD203B41FA5}">
                      <a16:colId xmlns:a16="http://schemas.microsoft.com/office/drawing/2014/main" val="3881166643"/>
                    </a:ext>
                  </a:extLst>
                </a:gridCol>
                <a:gridCol w="1135615">
                  <a:extLst>
                    <a:ext uri="{9D8B030D-6E8A-4147-A177-3AD203B41FA5}">
                      <a16:colId xmlns:a16="http://schemas.microsoft.com/office/drawing/2014/main" val="590917309"/>
                    </a:ext>
                  </a:extLst>
                </a:gridCol>
                <a:gridCol w="1917290">
                  <a:extLst>
                    <a:ext uri="{9D8B030D-6E8A-4147-A177-3AD203B41FA5}">
                      <a16:colId xmlns:a16="http://schemas.microsoft.com/office/drawing/2014/main" val="636837373"/>
                    </a:ext>
                  </a:extLst>
                </a:gridCol>
              </a:tblGrid>
              <a:tr h="14789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ice/Appliance</a:t>
                      </a:r>
                    </a:p>
                  </a:txBody>
                  <a:tcPr marL="7784" marR="7784" marT="778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itial Count</a:t>
                      </a:r>
                    </a:p>
                  </a:txBody>
                  <a:tcPr marL="7784" marR="7784" marT="778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lidated Count</a:t>
                      </a:r>
                    </a:p>
                  </a:txBody>
                  <a:tcPr marL="7784" marR="7784" marT="778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564575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R53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5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3085327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X40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062203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X45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640725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X10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3448506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S220-8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7044119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S225-2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8575305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S350-24P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7238185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S350-48FP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6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3461720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aki MS425-16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4150172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sco ISE 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4495447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sco ASR 100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91238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sco ASA 550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5158674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sco 385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8775630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sco Firepower 4120 Series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8843427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tigate Firewall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469801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sco 4000 Series </a:t>
                      </a:r>
                    </a:p>
                  </a:txBody>
                  <a:tcPr marL="7784" marR="7784" marT="778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7784" marR="7784" marT="778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 </a:t>
                      </a:r>
                      <a:endParaRPr lang="en-US" sz="1100" b="1" i="0" u="none" strike="noStrike" dirty="0" smtClean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784" marR="7784" marT="778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0736485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C UPS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7553764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andstream G Series Analog IP GW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0177705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lox (DHCP)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6205322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kVA APC UPS 208V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2816903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kVA APC UPS 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0250512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KVA APC UPS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0971525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nn-NO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ebert GXT4 10 KVA UPS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692874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nn-NO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ebert GXT4 10 KVA UPS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641785"/>
                  </a:ext>
                </a:extLst>
              </a:tr>
              <a:tr h="124542">
                <a:tc>
                  <a:txBody>
                    <a:bodyPr/>
                    <a:lstStyle/>
                    <a:p>
                      <a:pPr marL="91440" algn="l" rtl="0" fontAlgn="b"/>
                      <a:r>
                        <a:rPr lang="nn-NO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ebert GXT4 10 KVA UPS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algn="ctr" rtl="0" fontAlgn="b"/>
                      <a:r>
                        <a:rPr lang="en-U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784" marR="7784" marT="778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164588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446990" y="2279528"/>
            <a:ext cx="3223260" cy="276999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6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16x5 on floor + on call for P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446990" y="2054123"/>
            <a:ext cx="3223259" cy="240624"/>
          </a:xfrm>
          <a:prstGeom prst="rect">
            <a:avLst/>
          </a:prstGeom>
          <a:solidFill>
            <a:srgbClr val="328DFF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 Window</a:t>
            </a:r>
          </a:p>
        </p:txBody>
      </p:sp>
    </p:spTree>
    <p:extLst>
      <p:ext uri="{BB962C8B-B14F-4D97-AF65-F5344CB8AC3E}">
        <p14:creationId xmlns:p14="http://schemas.microsoft.com/office/powerpoint/2010/main" val="2640333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 smtClean="0">
                <a:solidFill>
                  <a:srgbClr val="0033A0"/>
                </a:solidFill>
              </a:rPr>
              <a:t>End User Computing</a:t>
            </a:r>
            <a:r>
              <a:rPr lang="en-US" kern="0" dirty="0">
                <a:solidFill>
                  <a:srgbClr val="0033A0"/>
                </a:solidFill>
              </a:rPr>
              <a:t/>
            </a:r>
            <a:br>
              <a:rPr lang="en-US" kern="0" dirty="0">
                <a:solidFill>
                  <a:srgbClr val="0033A0"/>
                </a:solidFill>
              </a:rPr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16</a:t>
            </a:fld>
            <a:endParaRPr lang="en-US"/>
          </a:p>
        </p:txBody>
      </p:sp>
      <p:sp>
        <p:nvSpPr>
          <p:cNvPr id="10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graphicFrame>
        <p:nvGraphicFramePr>
          <p:cNvPr id="103" name="Table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898912"/>
              </p:ext>
            </p:extLst>
          </p:nvPr>
        </p:nvGraphicFramePr>
        <p:xfrm>
          <a:off x="1337564" y="1231343"/>
          <a:ext cx="4685206" cy="4693448"/>
        </p:xfrm>
        <a:graphic>
          <a:graphicData uri="http://schemas.openxmlformats.org/drawingml/2006/table">
            <a:tbl>
              <a:tblPr firstRow="1" bandRow="1"/>
              <a:tblGrid>
                <a:gridCol w="874572">
                  <a:extLst>
                    <a:ext uri="{9D8B030D-6E8A-4147-A177-3AD203B41FA5}">
                      <a16:colId xmlns:a16="http://schemas.microsoft.com/office/drawing/2014/main" val="4108778156"/>
                    </a:ext>
                  </a:extLst>
                </a:gridCol>
                <a:gridCol w="2123960">
                  <a:extLst>
                    <a:ext uri="{9D8B030D-6E8A-4147-A177-3AD203B41FA5}">
                      <a16:colId xmlns:a16="http://schemas.microsoft.com/office/drawing/2014/main" val="3717025149"/>
                    </a:ext>
                  </a:extLst>
                </a:gridCol>
                <a:gridCol w="1686674">
                  <a:extLst>
                    <a:ext uri="{9D8B030D-6E8A-4147-A177-3AD203B41FA5}">
                      <a16:colId xmlns:a16="http://schemas.microsoft.com/office/drawing/2014/main" val="3347323256"/>
                    </a:ext>
                  </a:extLst>
                </a:gridCol>
              </a:tblGrid>
              <a:tr h="181639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wer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rvice  line item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ty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049616"/>
                  </a:ext>
                </a:extLst>
              </a:tr>
              <a:tr h="1816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er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r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0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4013935"/>
                  </a:ext>
                </a:extLst>
              </a:tr>
              <a:tr h="3546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er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fice Location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(Charlotte, Tampa, Convent Station, NYC, Phoenix, Boston)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6708475"/>
                  </a:ext>
                </a:extLst>
              </a:tr>
              <a:tr h="1816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er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Package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Month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0926313"/>
                  </a:ext>
                </a:extLst>
              </a:tr>
              <a:tr h="18163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C- Device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DI - inclusive off hours, weekend on call 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29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771097"/>
                  </a:ext>
                </a:extLst>
              </a:tr>
              <a:tr h="1816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P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itebook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13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3962890"/>
                  </a:ext>
                </a:extLst>
              </a:tr>
              <a:tr h="1816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e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cbook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/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cbook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ro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5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3407130"/>
                  </a:ext>
                </a:extLst>
              </a:tr>
              <a:tr h="1816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inter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coh Printers MP C3004ex /MP C401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2457829"/>
                  </a:ext>
                </a:extLst>
              </a:tr>
              <a:tr h="18163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ycom Device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k Phone VVX 501 /VVX 601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59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3043974"/>
                  </a:ext>
                </a:extLst>
              </a:tr>
              <a:tr h="28146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deo Conference - Trio 8800 / Trio RP 880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0167481"/>
                  </a:ext>
                </a:extLst>
              </a:tr>
              <a:tr h="18163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bile Device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roid Mobile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9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7893790"/>
                  </a:ext>
                </a:extLst>
              </a:tr>
              <a:tr h="1816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OS Mobile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9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4863213"/>
                  </a:ext>
                </a:extLst>
              </a:tr>
              <a:tr h="1816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C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kype Number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0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163455"/>
                  </a:ext>
                </a:extLst>
              </a:tr>
              <a:tr h="3546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er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ages Present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ndows 7, Windows 10 (1703, 1805, 1903), MAC O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0992403"/>
                  </a:ext>
                </a:extLst>
              </a:tr>
              <a:tr h="18163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365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365 mailbox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51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653340"/>
                  </a:ext>
                </a:extLst>
              </a:tr>
              <a:tr h="1816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harePoint Site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 Site Collections, 315 </a:t>
                      </a:r>
                      <a:r>
                        <a:rPr lang="fr-F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</a:t>
                      </a:r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ites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7609456"/>
                  </a:ext>
                </a:extLst>
              </a:tr>
              <a:tr h="1816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eDrive Users (Assumption)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0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182544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1337564" y="939800"/>
            <a:ext cx="7951685" cy="316971"/>
          </a:xfrm>
          <a:prstGeom prst="rect">
            <a:avLst/>
          </a:prstGeom>
          <a:solidFill>
            <a:schemeClr val="accent4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C</a:t>
            </a:r>
            <a:endParaRPr lang="en-US" sz="20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6065989" y="1485371"/>
            <a:ext cx="3223260" cy="2123658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aS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360 – MDM and Patch Management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coh Follow Me Print – Print Services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ashplan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Device Backup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Now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ITSM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g Me In – Remote Desktop Support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exera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Application Packaging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ogsoft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Event Management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kype for Business – Collaboration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MWare Horizon - VDI</a:t>
            </a:r>
          </a:p>
          <a:p>
            <a:pPr marL="171446" lvl="1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Now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porting &amp; Incumbent provided reporting tools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6065989" y="1256771"/>
            <a:ext cx="3223260" cy="228600"/>
          </a:xfrm>
          <a:prstGeom prst="rect">
            <a:avLst/>
          </a:prstGeom>
          <a:solidFill>
            <a:srgbClr val="0033A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wer Specific Tool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65989" y="3887835"/>
            <a:ext cx="3223260" cy="276999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6" indent="-171446" defTabSz="914340" fontAlgn="ctr"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16x5 on floor + on call for P1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65989" y="3662430"/>
            <a:ext cx="3223259" cy="240624"/>
          </a:xfrm>
          <a:prstGeom prst="rect">
            <a:avLst/>
          </a:prstGeom>
          <a:solidFill>
            <a:srgbClr val="328DFF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 Window</a:t>
            </a:r>
          </a:p>
        </p:txBody>
      </p:sp>
    </p:spTree>
    <p:extLst>
      <p:ext uri="{BB962C8B-B14F-4D97-AF65-F5344CB8AC3E}">
        <p14:creationId xmlns:p14="http://schemas.microsoft.com/office/powerpoint/2010/main" val="105260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 smtClean="0">
                <a:solidFill>
                  <a:srgbClr val="0033A0"/>
                </a:solidFill>
              </a:rPr>
              <a:t>Security Servic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17</a:t>
            </a:fld>
            <a:endParaRPr lang="en-US"/>
          </a:p>
        </p:txBody>
      </p:sp>
      <p:sp>
        <p:nvSpPr>
          <p:cNvPr id="10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73964" y="800100"/>
            <a:ext cx="11338215" cy="316971"/>
          </a:xfrm>
          <a:prstGeom prst="rect">
            <a:avLst/>
          </a:prstGeom>
          <a:solidFill>
            <a:schemeClr val="accent4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2"/>
                </a:solidFill>
              </a:rPr>
              <a:t>Security Service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839978" y="1113901"/>
            <a:ext cx="5972201" cy="298702"/>
          </a:xfrm>
          <a:prstGeom prst="rect">
            <a:avLst/>
          </a:prstGeom>
          <a:solidFill>
            <a:srgbClr val="328DFF"/>
          </a:solidFill>
          <a:ln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Key Volumetri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83395" y="2857149"/>
            <a:ext cx="5163515" cy="1277272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Service Desk – 24x7x365 (Tier 1)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yber Threat Defense – 24x7x365 (Tier1, Tier2 &amp; Tier3)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yber Tools Operations – 16x5 business hours and on-call support for P1 incidents (Tier 1.5, Tier2 &amp; Tier3)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Identity Mgmt. Operations; Data Protection Operations – 8x5 (Tier2, Tier3)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Vulnerability Management Operations – 8x5 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GRC Support Services – 8x5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83397" y="2613501"/>
            <a:ext cx="5163512" cy="275440"/>
          </a:xfrm>
          <a:prstGeom prst="rect">
            <a:avLst/>
          </a:prstGeom>
          <a:solidFill>
            <a:srgbClr val="328DFF"/>
          </a:solidFill>
          <a:ln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ervice Window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83400" y="1412604"/>
            <a:ext cx="5163511" cy="1107996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yber Threat Defense – Denver, USA &amp; Chennai, India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yber Tools Operation – Chennai, India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Identity Mgmt. Operations – Chennai, India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Data Protection Operations – Chennai, India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Vulnerability Management Operations – Chennai, India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GRC Support Services – Chennai, India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83397" y="1137165"/>
            <a:ext cx="5163513" cy="295177"/>
          </a:xfrm>
          <a:prstGeom prst="rect">
            <a:avLst/>
          </a:prstGeom>
          <a:solidFill>
            <a:srgbClr val="0033A0"/>
          </a:solidFill>
          <a:ln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ervice Delivery Location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74095" y="4595087"/>
            <a:ext cx="11328784" cy="1615828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numCol="2" rtlCol="0">
            <a:spAutoFit/>
          </a:bodyPr>
          <a:lstStyle/>
          <a:p>
            <a:pPr marL="171442" marR="0" lvl="1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yber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hreat Defense</a:t>
            </a:r>
          </a:p>
          <a:p>
            <a:pPr marL="514342" marR="0" lvl="2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BM QRadar, Anomali, ServiceNow SecOps (SIR)</a:t>
            </a:r>
          </a:p>
          <a:p>
            <a:pPr marL="171442" marR="0" lvl="1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yber Tools Operations</a:t>
            </a:r>
          </a:p>
          <a:p>
            <a:pPr marL="514342" marR="0" lvl="2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Zscaler Internet Access, Defender DLP, O365 DLP, Zscaler Cloud DLP, O365 Email Security, Proofpoint, Microsoft Defender AV, Carbon Black EDR, Paloalto Firewalls, MCAS, Zscaler Private Access, Cisco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S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42" marR="0" lvl="1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dentity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gmt. &amp; Data Protection Operations</a:t>
            </a:r>
          </a:p>
          <a:p>
            <a:pPr marL="514342" marR="0" lvl="2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Open Text, Azure AD, ADFS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avyin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, MS PKI, Azure Key Vault, Venafi, Cyber Ark,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SA,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F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, Azure MFA</a:t>
            </a:r>
          </a:p>
          <a:p>
            <a:pPr marL="171442" marR="0" lvl="1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Vulnerability Management Operations</a:t>
            </a:r>
          </a:p>
          <a:p>
            <a:pPr marL="514342" marR="0" lvl="2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Qualys, VMaaS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heckmarx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ppsca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, Metasploit</a:t>
            </a:r>
          </a:p>
          <a:p>
            <a:pPr marL="171442" marR="0" lvl="1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RC Support Services</a:t>
            </a:r>
          </a:p>
          <a:p>
            <a:pPr marL="514342" marR="0" lvl="2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icrosoft security &amp; compliance center, Paloalto Prisma SaaS (Redlock),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ofpoint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omba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),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Discovery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839978" y="1412603"/>
            <a:ext cx="5972201" cy="2862322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numCol="2" rtlCol="0">
            <a:spAutoFit/>
          </a:bodyPr>
          <a:lstStyle/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SIEM EPS (Event Per Second) – 2500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IR (Incident Response) Playbooks – 7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Endpoints – 3000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Network &amp; Servers – 778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Public IP Range – Upto 50 IP Address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500 employees &amp; 1000 contractors (guest users)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Firewalls Installed Locations – Boston; Charlotte, New Jersey, New York, </a:t>
            </a:r>
            <a:r>
              <a:rPr kumimoji="0" 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Phoneix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, Tampa, (</a:t>
            </a:r>
            <a:r>
              <a:rPr kumimoji="0" 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SoftLayer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 – Dallas &amp; Washington DC will be decommissioned)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AWS VPCs – 5; Azure Regions – 2 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Domain Controller – 4 in Azure &amp; 4 in IBM </a:t>
            </a:r>
            <a:r>
              <a:rPr kumimoji="0" 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Softlayer</a:t>
            </a: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 pitchFamily="-12" charset="-128"/>
              <a:cs typeface="Calibri" panose="020F0502020204030204" pitchFamily="34" charset="0"/>
            </a:endParaRP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yberArk Agents Installed – 49 systems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 pitchFamily="-12" charset="-128"/>
              <a:cs typeface="Calibri" panose="020F0502020204030204" pitchFamily="34" charset="0"/>
            </a:endParaRP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Bluecoat Agents Installed – 2925 systems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arbon Black Agents Installed – 3410 systems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Anyconnect Agents installed – 423 systems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Qualys Agents installed – 3096 systems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RSA tokens installed – 1244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Symantec Endpoint Installed – 2983 systems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External identities – 200,000</a:t>
            </a:r>
          </a:p>
          <a:p>
            <a:pPr marL="171442" marR="0" lvl="0" indent="-171442" algn="l" defTabSz="914318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2" charset="-128"/>
                <a:cs typeface="Calibri" panose="020F0502020204030204" pitchFamily="34" charset="0"/>
              </a:rPr>
              <a:t>Certificates – 6000 (Internal); 200 (External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83396" y="4308374"/>
            <a:ext cx="11328783" cy="279344"/>
          </a:xfrm>
          <a:prstGeom prst="rect">
            <a:avLst/>
          </a:prstGeom>
          <a:solidFill>
            <a:srgbClr val="0033A0"/>
          </a:solidFill>
          <a:ln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arget State Tools</a:t>
            </a:r>
          </a:p>
        </p:txBody>
      </p:sp>
    </p:spTree>
    <p:extLst>
      <p:ext uri="{BB962C8B-B14F-4D97-AF65-F5344CB8AC3E}">
        <p14:creationId xmlns:p14="http://schemas.microsoft.com/office/powerpoint/2010/main" val="3297022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352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4" y="209007"/>
            <a:ext cx="11180064" cy="1060704"/>
          </a:xfrm>
        </p:spPr>
        <p:txBody>
          <a:bodyPr/>
          <a:lstStyle/>
          <a:p>
            <a:r>
              <a:rPr lang="en-US" dirty="0" smtClean="0"/>
              <a:t>About </a:t>
            </a:r>
            <a:r>
              <a:rPr lang="en-US" dirty="0" err="1" smtClean="0"/>
              <a:t>Brighthouse</a:t>
            </a:r>
            <a:r>
              <a:rPr lang="en-US" dirty="0" smtClean="0"/>
              <a:t> Financials (BHF)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7" name="Rectangle 36"/>
          <p:cNvSpPr/>
          <p:nvPr/>
        </p:nvSpPr>
        <p:spPr>
          <a:xfrm>
            <a:off x="613664" y="834936"/>
            <a:ext cx="1068933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BHF is </a:t>
            </a:r>
            <a:r>
              <a:rPr lang="en-US" sz="2400" dirty="0">
                <a:solidFill>
                  <a:schemeClr val="tx2"/>
                </a:solidFill>
              </a:rPr>
              <a:t>one of the largest providers of annuities and life insurance in the </a:t>
            </a:r>
            <a:r>
              <a:rPr lang="en-US" sz="2400" dirty="0" smtClean="0">
                <a:solidFill>
                  <a:schemeClr val="tx2"/>
                </a:solidFill>
              </a:rPr>
              <a:t>U.S</a:t>
            </a:r>
            <a:endParaRPr lang="en-US" sz="2400" dirty="0">
              <a:solidFill>
                <a:schemeClr val="tx2"/>
              </a:solidFill>
            </a:endParaRPr>
          </a:p>
          <a:p>
            <a:endParaRPr lang="en-US" sz="2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Couple of years back BHF completed its separation </a:t>
            </a:r>
            <a:r>
              <a:rPr lang="en-US" sz="2400" dirty="0" smtClean="0">
                <a:solidFill>
                  <a:schemeClr val="tx2"/>
                </a:solidFill>
              </a:rPr>
              <a:t>from MetLife and </a:t>
            </a:r>
            <a:r>
              <a:rPr lang="en-US" sz="2400" dirty="0">
                <a:solidFill>
                  <a:schemeClr val="tx2"/>
                </a:solidFill>
              </a:rPr>
              <a:t>began trading on the Nasdaq stock </a:t>
            </a:r>
            <a:r>
              <a:rPr lang="en-US" sz="2400" dirty="0" smtClean="0">
                <a:solidFill>
                  <a:schemeClr val="tx2"/>
                </a:solidFill>
              </a:rPr>
              <a:t>exchange. Even on separation, MetLife </a:t>
            </a:r>
            <a:r>
              <a:rPr lang="en-US" sz="2400" dirty="0">
                <a:solidFill>
                  <a:schemeClr val="tx2"/>
                </a:solidFill>
              </a:rPr>
              <a:t>retained a </a:t>
            </a:r>
            <a:r>
              <a:rPr lang="en-US" sz="2400" dirty="0" smtClean="0">
                <a:solidFill>
                  <a:schemeClr val="tx2"/>
                </a:solidFill>
              </a:rPr>
              <a:t>some percentage of </a:t>
            </a:r>
            <a:r>
              <a:rPr lang="en-US" sz="2400" dirty="0">
                <a:solidFill>
                  <a:schemeClr val="tx2"/>
                </a:solidFill>
              </a:rPr>
              <a:t>stake in the </a:t>
            </a:r>
            <a:r>
              <a:rPr lang="en-US" sz="2400" dirty="0" smtClean="0">
                <a:solidFill>
                  <a:schemeClr val="tx2"/>
                </a:solidFill>
              </a:rPr>
              <a:t>company. </a:t>
            </a:r>
          </a:p>
          <a:p>
            <a:endParaRPr lang="en-US" sz="24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Headquartered in Charlotte, NC</a:t>
            </a:r>
            <a:endParaRPr lang="en-U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63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>
                <a:solidFill>
                  <a:srgbClr val="0033A0"/>
                </a:solidFill>
              </a:rPr>
              <a:t>Scope </a:t>
            </a:r>
            <a:r>
              <a:rPr lang="en-US" kern="0" dirty="0" smtClean="0">
                <a:solidFill>
                  <a:srgbClr val="0033A0"/>
                </a:solidFill>
              </a:rPr>
              <a:t>Overview</a:t>
            </a:r>
            <a:r>
              <a:rPr lang="en-US" kern="0" dirty="0">
                <a:solidFill>
                  <a:srgbClr val="0033A0"/>
                </a:solidFill>
              </a:rPr>
              <a:t/>
            </a:r>
            <a:br>
              <a:rPr lang="en-US" kern="0" dirty="0">
                <a:solidFill>
                  <a:srgbClr val="0033A0"/>
                </a:solidFill>
              </a:rPr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3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83999D-913C-FC40-9EF5-8C8A157FF179}"/>
              </a:ext>
            </a:extLst>
          </p:cNvPr>
          <p:cNvSpPr/>
          <p:nvPr/>
        </p:nvSpPr>
        <p:spPr bwMode="auto">
          <a:xfrm>
            <a:off x="3515875" y="5131281"/>
            <a:ext cx="4874526" cy="9691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55A11"/>
            </a:solidFill>
          </a:ln>
        </p:spPr>
        <p:txBody>
          <a:bodyPr wrap="square" lIns="243840" tIns="0" rIns="0" bIns="0"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" name="TextBox 45">
            <a:extLst>
              <a:ext uri="{FF2B5EF4-FFF2-40B4-BE49-F238E27FC236}">
                <a16:creationId xmlns:a16="http://schemas.microsoft.com/office/drawing/2014/main" id="{53E589B9-5BCB-6C42-A622-AAA2EFD950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6803" y="5277930"/>
            <a:ext cx="2240702" cy="85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479" tIns="44736" rIns="89479" bIns="4473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9pPr>
          </a:lstStyle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ＭＳ Ｐゴシック" pitchFamily="-112" charset="-128"/>
                <a:cs typeface="Calibri" panose="020F0502020204030204" pitchFamily="34" charset="0"/>
              </a:rPr>
              <a:t>L1 &amp; monitoring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ＭＳ Ｐゴシック" pitchFamily="-112" charset="-128"/>
                <a:cs typeface="Calibri" panose="020F0502020204030204" pitchFamily="34" charset="0"/>
              </a:rPr>
              <a:t>Service Desk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ＭＳ Ｐゴシック" pitchFamily="-112" charset="-128"/>
                <a:cs typeface="Calibri" panose="020F0502020204030204" pitchFamily="34" charset="0"/>
              </a:rPr>
              <a:t>Service Management Office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ＭＳ Ｐゴシック" pitchFamily="-112" charset="-128"/>
                <a:cs typeface="Calibri" panose="020F0502020204030204" pitchFamily="34" charset="0"/>
              </a:rPr>
              <a:t>Field Services desk-side support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3452B06-AEFA-6B4B-9022-6B54C0A152ED}"/>
              </a:ext>
            </a:extLst>
          </p:cNvPr>
          <p:cNvSpPr/>
          <p:nvPr/>
        </p:nvSpPr>
        <p:spPr>
          <a:xfrm>
            <a:off x="4671608" y="4970327"/>
            <a:ext cx="2743200" cy="296193"/>
          </a:xfrm>
          <a:prstGeom prst="roundRect">
            <a:avLst>
              <a:gd name="adj" fmla="val 50000"/>
            </a:avLst>
          </a:prstGeom>
          <a:solidFill>
            <a:srgbClr val="F98F25"/>
          </a:solidFill>
          <a:ln>
            <a:noFill/>
          </a:ln>
        </p:spPr>
        <p:txBody>
          <a:bodyPr wrap="square" lIns="121920" tIns="60960" rIns="121920" bIns="6096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Out of scope</a:t>
            </a:r>
          </a:p>
        </p:txBody>
      </p:sp>
      <p:sp>
        <p:nvSpPr>
          <p:cNvPr id="19" name="TextBox 45">
            <a:extLst>
              <a:ext uri="{FF2B5EF4-FFF2-40B4-BE49-F238E27FC236}">
                <a16:creationId xmlns:a16="http://schemas.microsoft.com/office/drawing/2014/main" id="{53E589B9-5BCB-6C42-A622-AAA2EFD950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27280" y="5268314"/>
            <a:ext cx="1892261" cy="705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479" tIns="44736" rIns="89479" bIns="4473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  <a:ea typeface="ＭＳ Ｐゴシック" pitchFamily="-112" charset="-128"/>
              </a:defRPr>
            </a:lvl9pPr>
          </a:lstStyle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ＭＳ Ｐゴシック" pitchFamily="-112" charset="-128"/>
                <a:cs typeface="Calibri" panose="020F0502020204030204" pitchFamily="34" charset="0"/>
              </a:rPr>
              <a:t>ITSM &amp; Process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ＭＳ Ｐゴシック" pitchFamily="-112" charset="-128"/>
                <a:cs typeface="Calibri" panose="020F0502020204030204" pitchFamily="34" charset="0"/>
              </a:rPr>
              <a:t>Audio, Video services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ＭＳ Ｐゴシック" pitchFamily="-112" charset="-128"/>
                <a:cs typeface="Calibri" panose="020F0502020204030204" pitchFamily="34" charset="0"/>
              </a:rPr>
              <a:t>Conferencing services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ＭＳ Ｐゴシック" pitchFamily="-112" charset="-128"/>
                <a:cs typeface="Calibri" panose="020F0502020204030204" pitchFamily="34" charset="0"/>
              </a:rPr>
              <a:t>Digital signage servic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861920-EC4C-8D43-8A30-0DFAAFB2FD73}"/>
              </a:ext>
            </a:extLst>
          </p:cNvPr>
          <p:cNvCxnSpPr>
            <a:cxnSpLocks/>
          </p:cNvCxnSpPr>
          <p:nvPr/>
        </p:nvCxnSpPr>
        <p:spPr>
          <a:xfrm>
            <a:off x="2908466" y="1361112"/>
            <a:ext cx="2877212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4B8AE392-F126-544D-897A-049A3370C155}"/>
              </a:ext>
            </a:extLst>
          </p:cNvPr>
          <p:cNvSpPr/>
          <p:nvPr/>
        </p:nvSpPr>
        <p:spPr>
          <a:xfrm>
            <a:off x="300987" y="3070838"/>
            <a:ext cx="2597438" cy="822960"/>
          </a:xfrm>
          <a:prstGeom prst="rect">
            <a:avLst/>
          </a:prstGeom>
          <a:solidFill>
            <a:srgbClr val="FDFDFD"/>
          </a:solidFill>
          <a:ln>
            <a:solidFill>
              <a:srgbClr val="00589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ulti-vendor support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anaged Services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Dedicated resource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odel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000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Dedicated resources for </a:t>
            </a:r>
            <a:r>
              <a:rPr lang="en-US" sz="1000" b="1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ject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0764EDD-7A5E-7844-BE41-C12BEB77198A}"/>
              </a:ext>
            </a:extLst>
          </p:cNvPr>
          <p:cNvSpPr/>
          <p:nvPr/>
        </p:nvSpPr>
        <p:spPr>
          <a:xfrm>
            <a:off x="2832793" y="3070838"/>
            <a:ext cx="65632" cy="822960"/>
          </a:xfrm>
          <a:prstGeom prst="rect">
            <a:avLst/>
          </a:prstGeom>
          <a:solidFill>
            <a:srgbClr val="00589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B8AE392-F126-544D-897A-049A3370C155}"/>
              </a:ext>
            </a:extLst>
          </p:cNvPr>
          <p:cNvSpPr/>
          <p:nvPr/>
        </p:nvSpPr>
        <p:spPr>
          <a:xfrm>
            <a:off x="283776" y="779266"/>
            <a:ext cx="2619038" cy="2169504"/>
          </a:xfrm>
          <a:prstGeom prst="rect">
            <a:avLst/>
          </a:prstGeom>
          <a:solidFill>
            <a:srgbClr val="FDFDFD"/>
          </a:solidFill>
          <a:ln>
            <a:solidFill>
              <a:srgbClr val="006F9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loud </a:t>
            </a: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omputing:</a:t>
            </a:r>
          </a:p>
          <a:p>
            <a:pPr marL="279450" indent="-171450"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Azur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, AWS Cloud operations, Server management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RedHa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Openshif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Network Services:</a:t>
            </a:r>
          </a:p>
          <a:p>
            <a:pPr marL="279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, SDWAN, VPN, WAN connectivity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End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User </a:t>
            </a: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omputing:</a:t>
            </a:r>
          </a:p>
          <a:p>
            <a:pPr marL="279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Device support, Desktop engineering, O365, </a:t>
            </a:r>
            <a:r>
              <a:rPr lang="en-US" sz="1000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MDM, Print Services</a:t>
            </a:r>
            <a:endParaRPr lang="en-US" sz="1000" dirty="0">
              <a:solidFill>
                <a:schemeClr val="tx2"/>
              </a:solidFill>
              <a:latin typeface="+mj-lt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curity:</a:t>
            </a:r>
          </a:p>
          <a:p>
            <a:pPr marL="279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 err="1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SecOps</a:t>
            </a:r>
            <a:r>
              <a:rPr lang="en-US" sz="100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, VM, end point protection, DL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0764EDD-7A5E-7844-BE41-C12BEB77198A}"/>
              </a:ext>
            </a:extLst>
          </p:cNvPr>
          <p:cNvSpPr/>
          <p:nvPr/>
        </p:nvSpPr>
        <p:spPr>
          <a:xfrm>
            <a:off x="2834397" y="779267"/>
            <a:ext cx="78458" cy="2169504"/>
          </a:xfrm>
          <a:prstGeom prst="rect">
            <a:avLst/>
          </a:prstGeom>
          <a:solidFill>
            <a:srgbClr val="006F9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B8AE392-F126-544D-897A-049A3370C155}"/>
              </a:ext>
            </a:extLst>
          </p:cNvPr>
          <p:cNvSpPr/>
          <p:nvPr/>
        </p:nvSpPr>
        <p:spPr>
          <a:xfrm>
            <a:off x="8893881" y="254000"/>
            <a:ext cx="3203161" cy="4083581"/>
          </a:xfrm>
          <a:prstGeom prst="rect">
            <a:avLst/>
          </a:prstGeom>
          <a:solidFill>
            <a:srgbClr val="FDFDFD"/>
          </a:solidFill>
          <a:ln>
            <a:solidFill>
              <a:srgbClr val="009D7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VMs: 263 </a:t>
            </a:r>
          </a:p>
          <a:p>
            <a:pPr marL="736650" lvl="1" indent="-171450">
              <a:buFont typeface="Arial" panose="020B0604020202020204" pitchFamily="34" charset="0"/>
              <a:buChar char="•"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(Azure - 93, AWS - 74, </a:t>
            </a:r>
            <a:r>
              <a:rPr kumimoji="0" lang="en-GB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oftLayer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- 96)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Users: 3000</a:t>
            </a:r>
          </a:p>
          <a:p>
            <a:pPr marL="279450" lvl="0" indent="-171450">
              <a:buFont typeface="Wingdings" panose="05000000000000000000" pitchFamily="2" charset="2"/>
              <a:buChar char="ü"/>
              <a:defRPr/>
            </a:pPr>
            <a:r>
              <a:rPr lang="en-GB" sz="1000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ocations: 6 (Charlotte, Tampa, Convent</a:t>
            </a:r>
          </a:p>
          <a:p>
            <a:pPr marL="279450" lvl="0" indent="-171450">
              <a:buFont typeface="Wingdings" panose="05000000000000000000" pitchFamily="2" charset="2"/>
              <a:buChar char="ü"/>
              <a:defRPr/>
            </a:pPr>
            <a:r>
              <a:rPr lang="en-GB" sz="1000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Station, NYC, Phoenix, Boston)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obile: 1028 (149- Android, 879- iOS)</a:t>
            </a:r>
          </a:p>
          <a:p>
            <a:pPr marL="279450" lvl="0" indent="-171450">
              <a:buFont typeface="Wingdings" panose="05000000000000000000" pitchFamily="2" charset="2"/>
              <a:buChar char="ü"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Polycom Phones – 1205</a:t>
            </a:r>
            <a:r>
              <a:rPr lang="en-GB" sz="100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 (Desk </a:t>
            </a:r>
            <a:r>
              <a:rPr lang="en-GB" sz="1000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hone - 1159; Video </a:t>
            </a:r>
            <a:r>
              <a:rPr lang="en-GB" sz="100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Conference - </a:t>
            </a:r>
            <a:r>
              <a:rPr lang="en-GB" sz="1000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46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Printers - 46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Network POTS/ATAs: 76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VDIs: 1129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Endpoint Agents - 2757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IEM EPS - 2500; 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Privileged Accounts - 400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Firewall Devices – 16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Infra Vulnerability Mgmt. – 293 IP’s 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Routers: 40; Switches: 136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Wireless Access Points: 220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Infoblox: 7</a:t>
            </a:r>
            <a:endParaRPr lang="it-IT" sz="1000" dirty="0">
              <a:solidFill>
                <a:schemeClr val="tx2"/>
              </a:solidFill>
              <a:latin typeface="+mj-lt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O365</a:t>
            </a:r>
            <a:r>
              <a:rPr kumimoji="0" lang="it-IT" sz="1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Mailboxes: 2551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it-IT" sz="1000" baseline="0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SharePoint</a:t>
            </a:r>
            <a:r>
              <a:rPr lang="it-IT" sz="1000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 Sites: 94 Site Collection,315 Subsites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Application Packages: 12/month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764EDD-7A5E-7844-BE41-C12BEB77198A}"/>
              </a:ext>
            </a:extLst>
          </p:cNvPr>
          <p:cNvSpPr/>
          <p:nvPr/>
        </p:nvSpPr>
        <p:spPr>
          <a:xfrm>
            <a:off x="8893881" y="253999"/>
            <a:ext cx="69953" cy="4103423"/>
          </a:xfrm>
          <a:prstGeom prst="rect">
            <a:avLst/>
          </a:prstGeom>
          <a:solidFill>
            <a:srgbClr val="009D7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C861920-EC4C-8D43-8A30-0DFAAFB2FD73}"/>
              </a:ext>
            </a:extLst>
          </p:cNvPr>
          <p:cNvCxnSpPr>
            <a:cxnSpLocks/>
          </p:cNvCxnSpPr>
          <p:nvPr/>
        </p:nvCxnSpPr>
        <p:spPr>
          <a:xfrm flipV="1">
            <a:off x="5756346" y="1347688"/>
            <a:ext cx="0" cy="87525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C861920-EC4C-8D43-8A30-0DFAAFB2FD73}"/>
              </a:ext>
            </a:extLst>
          </p:cNvPr>
          <p:cNvCxnSpPr>
            <a:cxnSpLocks/>
          </p:cNvCxnSpPr>
          <p:nvPr/>
        </p:nvCxnSpPr>
        <p:spPr>
          <a:xfrm>
            <a:off x="2895920" y="3213163"/>
            <a:ext cx="1271042" cy="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861920-EC4C-8D43-8A30-0DFAAFB2FD73}"/>
              </a:ext>
            </a:extLst>
          </p:cNvPr>
          <p:cNvCxnSpPr>
            <a:cxnSpLocks/>
          </p:cNvCxnSpPr>
          <p:nvPr/>
        </p:nvCxnSpPr>
        <p:spPr>
          <a:xfrm>
            <a:off x="7558056" y="1800272"/>
            <a:ext cx="1344351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C861920-EC4C-8D43-8A30-0DFAAFB2FD73}"/>
              </a:ext>
            </a:extLst>
          </p:cNvPr>
          <p:cNvCxnSpPr>
            <a:cxnSpLocks/>
          </p:cNvCxnSpPr>
          <p:nvPr/>
        </p:nvCxnSpPr>
        <p:spPr>
          <a:xfrm>
            <a:off x="8537990" y="4228096"/>
            <a:ext cx="381454" cy="1294446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Block Arc 45"/>
          <p:cNvSpPr/>
          <p:nvPr/>
        </p:nvSpPr>
        <p:spPr>
          <a:xfrm>
            <a:off x="3248034" y="2391498"/>
            <a:ext cx="5376232" cy="4946574"/>
          </a:xfrm>
          <a:prstGeom prst="blockArc">
            <a:avLst>
              <a:gd name="adj1" fmla="val 10800000"/>
              <a:gd name="adj2" fmla="val 12865056"/>
              <a:gd name="adj3" fmla="val 22143"/>
            </a:avLst>
          </a:prstGeom>
          <a:solidFill>
            <a:srgbClr val="003E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Block Arc 46"/>
          <p:cNvSpPr/>
          <p:nvPr/>
        </p:nvSpPr>
        <p:spPr>
          <a:xfrm rot="2026953">
            <a:off x="3350858" y="2391499"/>
            <a:ext cx="5376232" cy="4946574"/>
          </a:xfrm>
          <a:prstGeom prst="blockArc">
            <a:avLst>
              <a:gd name="adj1" fmla="val 10800000"/>
              <a:gd name="adj2" fmla="val 12628359"/>
              <a:gd name="adj3" fmla="val 22159"/>
            </a:avLst>
          </a:prstGeom>
          <a:solidFill>
            <a:srgbClr val="0058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Block Arc 47"/>
          <p:cNvSpPr/>
          <p:nvPr/>
        </p:nvSpPr>
        <p:spPr>
          <a:xfrm rot="3884344">
            <a:off x="3394924" y="2436288"/>
            <a:ext cx="5376232" cy="4946574"/>
          </a:xfrm>
          <a:prstGeom prst="blockArc">
            <a:avLst>
              <a:gd name="adj1" fmla="val 10800000"/>
              <a:gd name="adj2" fmla="val 13301380"/>
              <a:gd name="adj3" fmla="val 22236"/>
            </a:avLst>
          </a:prstGeom>
          <a:solidFill>
            <a:srgbClr val="006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Block Arc 48"/>
          <p:cNvSpPr/>
          <p:nvPr/>
        </p:nvSpPr>
        <p:spPr>
          <a:xfrm rot="6422597">
            <a:off x="3372890" y="2539698"/>
            <a:ext cx="5376232" cy="4946574"/>
          </a:xfrm>
          <a:prstGeom prst="blockArc">
            <a:avLst>
              <a:gd name="adj1" fmla="val 10800000"/>
              <a:gd name="adj2" fmla="val 12862393"/>
              <a:gd name="adj3" fmla="val 22276"/>
            </a:avLst>
          </a:prstGeom>
          <a:solidFill>
            <a:srgbClr val="009D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Block Arc 49"/>
          <p:cNvSpPr/>
          <p:nvPr/>
        </p:nvSpPr>
        <p:spPr>
          <a:xfrm rot="8575828">
            <a:off x="3339841" y="2624684"/>
            <a:ext cx="5376232" cy="4946574"/>
          </a:xfrm>
          <a:prstGeom prst="blockArc">
            <a:avLst>
              <a:gd name="adj1" fmla="val 10690230"/>
              <a:gd name="adj2" fmla="val 12689903"/>
              <a:gd name="adj3" fmla="val 21936"/>
            </a:avLst>
          </a:prstGeom>
          <a:solidFill>
            <a:srgbClr val="00AE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166962" y="3035021"/>
            <a:ext cx="8203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DELIVERY 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ODEL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392895" y="3891440"/>
            <a:ext cx="1139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OOL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484561" y="2502983"/>
            <a:ext cx="9486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COPE OF </a:t>
            </a:r>
          </a:p>
          <a:p>
            <a:pPr marL="0" marR="0" lvl="1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ERVICE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6678683" y="3023759"/>
            <a:ext cx="121453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VOLUMETRIC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7313334" y="3922164"/>
            <a:ext cx="12246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ECHNOLOGY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4211740" y="4116783"/>
            <a:ext cx="686209" cy="666708"/>
            <a:chOff x="3029891" y="2796315"/>
            <a:chExt cx="488293" cy="474417"/>
          </a:xfrm>
        </p:grpSpPr>
        <p:sp>
          <p:nvSpPr>
            <p:cNvPr id="57" name="Freeform 820"/>
            <p:cNvSpPr>
              <a:spLocks/>
            </p:cNvSpPr>
            <p:nvPr/>
          </p:nvSpPr>
          <p:spPr bwMode="auto">
            <a:xfrm>
              <a:off x="3029891" y="2796315"/>
              <a:ext cx="488293" cy="474417"/>
            </a:xfrm>
            <a:custGeom>
              <a:avLst/>
              <a:gdLst>
                <a:gd name="T0" fmla="*/ 391 w 420"/>
                <a:gd name="T1" fmla="*/ 262 h 420"/>
                <a:gd name="T2" fmla="*/ 158 w 420"/>
                <a:gd name="T3" fmla="*/ 391 h 420"/>
                <a:gd name="T4" fmla="*/ 29 w 420"/>
                <a:gd name="T5" fmla="*/ 158 h 420"/>
                <a:gd name="T6" fmla="*/ 262 w 420"/>
                <a:gd name="T7" fmla="*/ 29 h 420"/>
                <a:gd name="T8" fmla="*/ 391 w 420"/>
                <a:gd name="T9" fmla="*/ 26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420">
                  <a:moveTo>
                    <a:pt x="391" y="262"/>
                  </a:moveTo>
                  <a:cubicBezTo>
                    <a:pt x="362" y="362"/>
                    <a:pt x="258" y="420"/>
                    <a:pt x="158" y="391"/>
                  </a:cubicBezTo>
                  <a:cubicBezTo>
                    <a:pt x="58" y="362"/>
                    <a:pt x="0" y="258"/>
                    <a:pt x="29" y="158"/>
                  </a:cubicBezTo>
                  <a:cubicBezTo>
                    <a:pt x="58" y="58"/>
                    <a:pt x="162" y="0"/>
                    <a:pt x="262" y="29"/>
                  </a:cubicBezTo>
                  <a:cubicBezTo>
                    <a:pt x="362" y="58"/>
                    <a:pt x="420" y="162"/>
                    <a:pt x="391" y="262"/>
                  </a:cubicBezTo>
                  <a:close/>
                </a:path>
              </a:pathLst>
            </a:custGeom>
            <a:solidFill>
              <a:srgbClr val="003479"/>
            </a:solidFill>
            <a:ln w="25400">
              <a:solidFill>
                <a:schemeClr val="bg1">
                  <a:alpha val="70000"/>
                </a:schemeClr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58" name="Group 57"/>
            <p:cNvGrpSpPr>
              <a:grpSpLocks noChangeAspect="1"/>
            </p:cNvGrpSpPr>
            <p:nvPr/>
          </p:nvGrpSpPr>
          <p:grpSpPr bwMode="auto">
            <a:xfrm>
              <a:off x="3153084" y="2918035"/>
              <a:ext cx="241606" cy="240709"/>
              <a:chOff x="226" y="297"/>
              <a:chExt cx="808" cy="805"/>
            </a:xfrm>
            <a:solidFill>
              <a:schemeClr val="bg1"/>
            </a:solidFill>
          </p:grpSpPr>
          <p:sp>
            <p:nvSpPr>
              <p:cNvPr id="59" name="Freeform 5"/>
              <p:cNvSpPr>
                <a:spLocks noEditPoints="1"/>
              </p:cNvSpPr>
              <p:nvPr/>
            </p:nvSpPr>
            <p:spPr bwMode="auto">
              <a:xfrm>
                <a:off x="516" y="588"/>
                <a:ext cx="227" cy="224"/>
              </a:xfrm>
              <a:custGeom>
                <a:avLst/>
                <a:gdLst>
                  <a:gd name="T0" fmla="*/ 95 w 95"/>
                  <a:gd name="T1" fmla="*/ 47 h 94"/>
                  <a:gd name="T2" fmla="*/ 47 w 95"/>
                  <a:gd name="T3" fmla="*/ 94 h 94"/>
                  <a:gd name="T4" fmla="*/ 0 w 95"/>
                  <a:gd name="T5" fmla="*/ 47 h 94"/>
                  <a:gd name="T6" fmla="*/ 48 w 95"/>
                  <a:gd name="T7" fmla="*/ 0 h 94"/>
                  <a:gd name="T8" fmla="*/ 95 w 95"/>
                  <a:gd name="T9" fmla="*/ 47 h 94"/>
                  <a:gd name="T10" fmla="*/ 80 w 95"/>
                  <a:gd name="T11" fmla="*/ 47 h 94"/>
                  <a:gd name="T12" fmla="*/ 48 w 95"/>
                  <a:gd name="T13" fmla="*/ 15 h 94"/>
                  <a:gd name="T14" fmla="*/ 15 w 95"/>
                  <a:gd name="T15" fmla="*/ 47 h 94"/>
                  <a:gd name="T16" fmla="*/ 47 w 95"/>
                  <a:gd name="T17" fmla="*/ 79 h 94"/>
                  <a:gd name="T18" fmla="*/ 80 w 95"/>
                  <a:gd name="T1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" h="94">
                    <a:moveTo>
                      <a:pt x="95" y="47"/>
                    </a:moveTo>
                    <a:cubicBezTo>
                      <a:pt x="95" y="74"/>
                      <a:pt x="74" y="94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ubicBezTo>
                      <a:pt x="0" y="20"/>
                      <a:pt x="21" y="0"/>
                      <a:pt x="48" y="0"/>
                    </a:cubicBezTo>
                    <a:cubicBezTo>
                      <a:pt x="74" y="0"/>
                      <a:pt x="95" y="21"/>
                      <a:pt x="95" y="47"/>
                    </a:cubicBezTo>
                    <a:close/>
                    <a:moveTo>
                      <a:pt x="80" y="47"/>
                    </a:moveTo>
                    <a:cubicBezTo>
                      <a:pt x="80" y="30"/>
                      <a:pt x="65" y="15"/>
                      <a:pt x="48" y="15"/>
                    </a:cubicBezTo>
                    <a:cubicBezTo>
                      <a:pt x="30" y="15"/>
                      <a:pt x="15" y="29"/>
                      <a:pt x="15" y="47"/>
                    </a:cubicBezTo>
                    <a:cubicBezTo>
                      <a:pt x="15" y="64"/>
                      <a:pt x="30" y="79"/>
                      <a:pt x="47" y="79"/>
                    </a:cubicBezTo>
                    <a:cubicBezTo>
                      <a:pt x="65" y="79"/>
                      <a:pt x="79" y="65"/>
                      <a:pt x="80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0" name="Freeform 6"/>
              <p:cNvSpPr>
                <a:spLocks/>
              </p:cNvSpPr>
              <p:nvPr/>
            </p:nvSpPr>
            <p:spPr bwMode="auto">
              <a:xfrm>
                <a:off x="800" y="621"/>
                <a:ext cx="234" cy="157"/>
              </a:xfrm>
              <a:custGeom>
                <a:avLst/>
                <a:gdLst>
                  <a:gd name="T0" fmla="*/ 68 w 98"/>
                  <a:gd name="T1" fmla="*/ 42 h 66"/>
                  <a:gd name="T2" fmla="*/ 13 w 98"/>
                  <a:gd name="T3" fmla="*/ 42 h 66"/>
                  <a:gd name="T4" fmla="*/ 8 w 98"/>
                  <a:gd name="T5" fmla="*/ 42 h 66"/>
                  <a:gd name="T6" fmla="*/ 0 w 98"/>
                  <a:gd name="T7" fmla="*/ 34 h 66"/>
                  <a:gd name="T8" fmla="*/ 8 w 98"/>
                  <a:gd name="T9" fmla="*/ 25 h 66"/>
                  <a:gd name="T10" fmla="*/ 62 w 98"/>
                  <a:gd name="T11" fmla="*/ 25 h 66"/>
                  <a:gd name="T12" fmla="*/ 69 w 98"/>
                  <a:gd name="T13" fmla="*/ 25 h 66"/>
                  <a:gd name="T14" fmla="*/ 60 w 98"/>
                  <a:gd name="T15" fmla="*/ 16 h 66"/>
                  <a:gd name="T16" fmla="*/ 59 w 98"/>
                  <a:gd name="T17" fmla="*/ 3 h 66"/>
                  <a:gd name="T18" fmla="*/ 71 w 98"/>
                  <a:gd name="T19" fmla="*/ 5 h 66"/>
                  <a:gd name="T20" fmla="*/ 93 w 98"/>
                  <a:gd name="T21" fmla="*/ 26 h 66"/>
                  <a:gd name="T22" fmla="*/ 93 w 98"/>
                  <a:gd name="T23" fmla="*/ 40 h 66"/>
                  <a:gd name="T24" fmla="*/ 71 w 98"/>
                  <a:gd name="T25" fmla="*/ 62 h 66"/>
                  <a:gd name="T26" fmla="*/ 59 w 98"/>
                  <a:gd name="T27" fmla="*/ 63 h 66"/>
                  <a:gd name="T28" fmla="*/ 60 w 98"/>
                  <a:gd name="T29" fmla="*/ 51 h 66"/>
                  <a:gd name="T30" fmla="*/ 69 w 98"/>
                  <a:gd name="T31" fmla="*/ 43 h 66"/>
                  <a:gd name="T32" fmla="*/ 68 w 98"/>
                  <a:gd name="T33" fmla="*/ 4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8" h="66">
                    <a:moveTo>
                      <a:pt x="68" y="42"/>
                    </a:moveTo>
                    <a:cubicBezTo>
                      <a:pt x="50" y="42"/>
                      <a:pt x="32" y="42"/>
                      <a:pt x="13" y="42"/>
                    </a:cubicBezTo>
                    <a:cubicBezTo>
                      <a:pt x="12" y="42"/>
                      <a:pt x="10" y="42"/>
                      <a:pt x="8" y="42"/>
                    </a:cubicBezTo>
                    <a:cubicBezTo>
                      <a:pt x="3" y="41"/>
                      <a:pt x="0" y="38"/>
                      <a:pt x="0" y="34"/>
                    </a:cubicBezTo>
                    <a:cubicBezTo>
                      <a:pt x="0" y="29"/>
                      <a:pt x="3" y="25"/>
                      <a:pt x="8" y="25"/>
                    </a:cubicBezTo>
                    <a:cubicBezTo>
                      <a:pt x="26" y="25"/>
                      <a:pt x="44" y="25"/>
                      <a:pt x="62" y="25"/>
                    </a:cubicBezTo>
                    <a:cubicBezTo>
                      <a:pt x="64" y="25"/>
                      <a:pt x="66" y="25"/>
                      <a:pt x="69" y="25"/>
                    </a:cubicBezTo>
                    <a:cubicBezTo>
                      <a:pt x="66" y="22"/>
                      <a:pt x="63" y="19"/>
                      <a:pt x="60" y="16"/>
                    </a:cubicBezTo>
                    <a:cubicBezTo>
                      <a:pt x="56" y="12"/>
                      <a:pt x="56" y="7"/>
                      <a:pt x="59" y="3"/>
                    </a:cubicBezTo>
                    <a:cubicBezTo>
                      <a:pt x="62" y="0"/>
                      <a:pt x="67" y="1"/>
                      <a:pt x="71" y="5"/>
                    </a:cubicBezTo>
                    <a:cubicBezTo>
                      <a:pt x="79" y="12"/>
                      <a:pt x="86" y="19"/>
                      <a:pt x="93" y="26"/>
                    </a:cubicBezTo>
                    <a:cubicBezTo>
                      <a:pt x="98" y="31"/>
                      <a:pt x="98" y="35"/>
                      <a:pt x="93" y="40"/>
                    </a:cubicBezTo>
                    <a:cubicBezTo>
                      <a:pt x="86" y="47"/>
                      <a:pt x="78" y="55"/>
                      <a:pt x="71" y="62"/>
                    </a:cubicBezTo>
                    <a:cubicBezTo>
                      <a:pt x="67" y="66"/>
                      <a:pt x="62" y="66"/>
                      <a:pt x="59" y="63"/>
                    </a:cubicBezTo>
                    <a:cubicBezTo>
                      <a:pt x="56" y="60"/>
                      <a:pt x="56" y="55"/>
                      <a:pt x="60" y="51"/>
                    </a:cubicBezTo>
                    <a:cubicBezTo>
                      <a:pt x="63" y="48"/>
                      <a:pt x="66" y="46"/>
                      <a:pt x="69" y="43"/>
                    </a:cubicBezTo>
                    <a:cubicBezTo>
                      <a:pt x="69" y="43"/>
                      <a:pt x="68" y="42"/>
                      <a:pt x="68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Freeform 7"/>
              <p:cNvSpPr>
                <a:spLocks/>
              </p:cNvSpPr>
              <p:nvPr/>
            </p:nvSpPr>
            <p:spPr bwMode="auto">
              <a:xfrm>
                <a:off x="550" y="866"/>
                <a:ext cx="157" cy="236"/>
              </a:xfrm>
              <a:custGeom>
                <a:avLst/>
                <a:gdLst>
                  <a:gd name="T0" fmla="*/ 43 w 66"/>
                  <a:gd name="T1" fmla="*/ 71 h 99"/>
                  <a:gd name="T2" fmla="*/ 51 w 66"/>
                  <a:gd name="T3" fmla="*/ 61 h 99"/>
                  <a:gd name="T4" fmla="*/ 63 w 66"/>
                  <a:gd name="T5" fmla="*/ 60 h 99"/>
                  <a:gd name="T6" fmla="*/ 62 w 66"/>
                  <a:gd name="T7" fmla="*/ 72 h 99"/>
                  <a:gd name="T8" fmla="*/ 39 w 66"/>
                  <a:gd name="T9" fmla="*/ 95 h 99"/>
                  <a:gd name="T10" fmla="*/ 27 w 66"/>
                  <a:gd name="T11" fmla="*/ 95 h 99"/>
                  <a:gd name="T12" fmla="*/ 4 w 66"/>
                  <a:gd name="T13" fmla="*/ 72 h 99"/>
                  <a:gd name="T14" fmla="*/ 3 w 66"/>
                  <a:gd name="T15" fmla="*/ 61 h 99"/>
                  <a:gd name="T16" fmla="*/ 15 w 66"/>
                  <a:gd name="T17" fmla="*/ 61 h 99"/>
                  <a:gd name="T18" fmla="*/ 25 w 66"/>
                  <a:gd name="T19" fmla="*/ 72 h 99"/>
                  <a:gd name="T20" fmla="*/ 25 w 66"/>
                  <a:gd name="T21" fmla="*/ 65 h 99"/>
                  <a:gd name="T22" fmla="*/ 25 w 66"/>
                  <a:gd name="T23" fmla="*/ 11 h 99"/>
                  <a:gd name="T24" fmla="*/ 36 w 66"/>
                  <a:gd name="T25" fmla="*/ 2 h 99"/>
                  <a:gd name="T26" fmla="*/ 41 w 66"/>
                  <a:gd name="T27" fmla="*/ 11 h 99"/>
                  <a:gd name="T28" fmla="*/ 41 w 66"/>
                  <a:gd name="T29" fmla="*/ 64 h 99"/>
                  <a:gd name="T30" fmla="*/ 41 w 66"/>
                  <a:gd name="T31" fmla="*/ 70 h 99"/>
                  <a:gd name="T32" fmla="*/ 43 w 66"/>
                  <a:gd name="T33" fmla="*/ 7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" h="99">
                    <a:moveTo>
                      <a:pt x="43" y="71"/>
                    </a:moveTo>
                    <a:cubicBezTo>
                      <a:pt x="45" y="68"/>
                      <a:pt x="48" y="64"/>
                      <a:pt x="51" y="61"/>
                    </a:cubicBezTo>
                    <a:cubicBezTo>
                      <a:pt x="55" y="58"/>
                      <a:pt x="60" y="57"/>
                      <a:pt x="63" y="60"/>
                    </a:cubicBezTo>
                    <a:cubicBezTo>
                      <a:pt x="66" y="63"/>
                      <a:pt x="66" y="69"/>
                      <a:pt x="62" y="72"/>
                    </a:cubicBezTo>
                    <a:cubicBezTo>
                      <a:pt x="55" y="80"/>
                      <a:pt x="47" y="88"/>
                      <a:pt x="39" y="95"/>
                    </a:cubicBezTo>
                    <a:cubicBezTo>
                      <a:pt x="35" y="99"/>
                      <a:pt x="31" y="99"/>
                      <a:pt x="27" y="95"/>
                    </a:cubicBezTo>
                    <a:cubicBezTo>
                      <a:pt x="19" y="87"/>
                      <a:pt x="11" y="80"/>
                      <a:pt x="4" y="72"/>
                    </a:cubicBezTo>
                    <a:cubicBezTo>
                      <a:pt x="0" y="68"/>
                      <a:pt x="0" y="64"/>
                      <a:pt x="3" y="61"/>
                    </a:cubicBezTo>
                    <a:cubicBezTo>
                      <a:pt x="6" y="57"/>
                      <a:pt x="11" y="58"/>
                      <a:pt x="15" y="61"/>
                    </a:cubicBezTo>
                    <a:cubicBezTo>
                      <a:pt x="18" y="64"/>
                      <a:pt x="21" y="67"/>
                      <a:pt x="25" y="72"/>
                    </a:cubicBezTo>
                    <a:cubicBezTo>
                      <a:pt x="25" y="68"/>
                      <a:pt x="25" y="67"/>
                      <a:pt x="25" y="65"/>
                    </a:cubicBezTo>
                    <a:cubicBezTo>
                      <a:pt x="25" y="47"/>
                      <a:pt x="25" y="29"/>
                      <a:pt x="25" y="11"/>
                    </a:cubicBezTo>
                    <a:cubicBezTo>
                      <a:pt x="25" y="4"/>
                      <a:pt x="30" y="0"/>
                      <a:pt x="36" y="2"/>
                    </a:cubicBezTo>
                    <a:cubicBezTo>
                      <a:pt x="40" y="3"/>
                      <a:pt x="41" y="7"/>
                      <a:pt x="41" y="11"/>
                    </a:cubicBezTo>
                    <a:cubicBezTo>
                      <a:pt x="41" y="29"/>
                      <a:pt x="41" y="47"/>
                      <a:pt x="41" y="64"/>
                    </a:cubicBezTo>
                    <a:cubicBezTo>
                      <a:pt x="41" y="66"/>
                      <a:pt x="41" y="68"/>
                      <a:pt x="41" y="70"/>
                    </a:cubicBezTo>
                    <a:cubicBezTo>
                      <a:pt x="42" y="70"/>
                      <a:pt x="42" y="70"/>
                      <a:pt x="43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2" name="Freeform 8"/>
              <p:cNvSpPr>
                <a:spLocks/>
              </p:cNvSpPr>
              <p:nvPr/>
            </p:nvSpPr>
            <p:spPr bwMode="auto">
              <a:xfrm>
                <a:off x="741" y="411"/>
                <a:ext cx="178" cy="177"/>
              </a:xfrm>
              <a:custGeom>
                <a:avLst/>
                <a:gdLst>
                  <a:gd name="T0" fmla="*/ 58 w 75"/>
                  <a:gd name="T1" fmla="*/ 28 h 74"/>
                  <a:gd name="T2" fmla="*/ 20 w 75"/>
                  <a:gd name="T3" fmla="*/ 66 h 74"/>
                  <a:gd name="T4" fmla="*/ 17 w 75"/>
                  <a:gd name="T5" fmla="*/ 69 h 74"/>
                  <a:gd name="T6" fmla="*/ 4 w 75"/>
                  <a:gd name="T7" fmla="*/ 70 h 74"/>
                  <a:gd name="T8" fmla="*/ 5 w 75"/>
                  <a:gd name="T9" fmla="*/ 58 h 74"/>
                  <a:gd name="T10" fmla="*/ 43 w 75"/>
                  <a:gd name="T11" fmla="*/ 20 h 74"/>
                  <a:gd name="T12" fmla="*/ 48 w 75"/>
                  <a:gd name="T13" fmla="*/ 17 h 74"/>
                  <a:gd name="T14" fmla="*/ 47 w 75"/>
                  <a:gd name="T15" fmla="*/ 15 h 74"/>
                  <a:gd name="T16" fmla="*/ 33 w 75"/>
                  <a:gd name="T17" fmla="*/ 15 h 74"/>
                  <a:gd name="T18" fmla="*/ 25 w 75"/>
                  <a:gd name="T19" fmla="*/ 7 h 74"/>
                  <a:gd name="T20" fmla="*/ 33 w 75"/>
                  <a:gd name="T21" fmla="*/ 0 h 74"/>
                  <a:gd name="T22" fmla="*/ 66 w 75"/>
                  <a:gd name="T23" fmla="*/ 0 h 74"/>
                  <a:gd name="T24" fmla="*/ 75 w 75"/>
                  <a:gd name="T25" fmla="*/ 8 h 74"/>
                  <a:gd name="T26" fmla="*/ 75 w 75"/>
                  <a:gd name="T27" fmla="*/ 41 h 74"/>
                  <a:gd name="T28" fmla="*/ 66 w 75"/>
                  <a:gd name="T29" fmla="*/ 49 h 74"/>
                  <a:gd name="T30" fmla="*/ 59 w 75"/>
                  <a:gd name="T31" fmla="*/ 41 h 74"/>
                  <a:gd name="T32" fmla="*/ 59 w 75"/>
                  <a:gd name="T33" fmla="*/ 28 h 74"/>
                  <a:gd name="T34" fmla="*/ 58 w 75"/>
                  <a:gd name="T3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5" h="74">
                    <a:moveTo>
                      <a:pt x="58" y="28"/>
                    </a:moveTo>
                    <a:cubicBezTo>
                      <a:pt x="45" y="40"/>
                      <a:pt x="33" y="53"/>
                      <a:pt x="20" y="66"/>
                    </a:cubicBezTo>
                    <a:cubicBezTo>
                      <a:pt x="19" y="67"/>
                      <a:pt x="18" y="68"/>
                      <a:pt x="17" y="69"/>
                    </a:cubicBezTo>
                    <a:cubicBezTo>
                      <a:pt x="12" y="73"/>
                      <a:pt x="8" y="74"/>
                      <a:pt x="4" y="70"/>
                    </a:cubicBezTo>
                    <a:cubicBezTo>
                      <a:pt x="0" y="66"/>
                      <a:pt x="1" y="63"/>
                      <a:pt x="5" y="58"/>
                    </a:cubicBezTo>
                    <a:cubicBezTo>
                      <a:pt x="18" y="45"/>
                      <a:pt x="30" y="33"/>
                      <a:pt x="43" y="20"/>
                    </a:cubicBezTo>
                    <a:cubicBezTo>
                      <a:pt x="44" y="19"/>
                      <a:pt x="46" y="18"/>
                      <a:pt x="48" y="17"/>
                    </a:cubicBezTo>
                    <a:cubicBezTo>
                      <a:pt x="47" y="17"/>
                      <a:pt x="47" y="16"/>
                      <a:pt x="47" y="15"/>
                    </a:cubicBezTo>
                    <a:cubicBezTo>
                      <a:pt x="42" y="15"/>
                      <a:pt x="38" y="15"/>
                      <a:pt x="33" y="15"/>
                    </a:cubicBezTo>
                    <a:cubicBezTo>
                      <a:pt x="28" y="15"/>
                      <a:pt x="25" y="12"/>
                      <a:pt x="25" y="7"/>
                    </a:cubicBezTo>
                    <a:cubicBezTo>
                      <a:pt x="25" y="3"/>
                      <a:pt x="28" y="0"/>
                      <a:pt x="33" y="0"/>
                    </a:cubicBezTo>
                    <a:cubicBezTo>
                      <a:pt x="44" y="0"/>
                      <a:pt x="55" y="0"/>
                      <a:pt x="66" y="0"/>
                    </a:cubicBezTo>
                    <a:cubicBezTo>
                      <a:pt x="71" y="0"/>
                      <a:pt x="75" y="3"/>
                      <a:pt x="75" y="8"/>
                    </a:cubicBezTo>
                    <a:cubicBezTo>
                      <a:pt x="75" y="19"/>
                      <a:pt x="75" y="30"/>
                      <a:pt x="75" y="41"/>
                    </a:cubicBezTo>
                    <a:cubicBezTo>
                      <a:pt x="74" y="47"/>
                      <a:pt x="71" y="50"/>
                      <a:pt x="66" y="49"/>
                    </a:cubicBezTo>
                    <a:cubicBezTo>
                      <a:pt x="62" y="49"/>
                      <a:pt x="59" y="46"/>
                      <a:pt x="59" y="41"/>
                    </a:cubicBezTo>
                    <a:cubicBezTo>
                      <a:pt x="59" y="37"/>
                      <a:pt x="59" y="32"/>
                      <a:pt x="59" y="28"/>
                    </a:cubicBezTo>
                    <a:cubicBezTo>
                      <a:pt x="59" y="28"/>
                      <a:pt x="58" y="28"/>
                      <a:pt x="58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3" name="Freeform 9"/>
              <p:cNvSpPr>
                <a:spLocks/>
              </p:cNvSpPr>
              <p:nvPr/>
            </p:nvSpPr>
            <p:spPr bwMode="auto">
              <a:xfrm>
                <a:off x="741" y="812"/>
                <a:ext cx="178" cy="176"/>
              </a:xfrm>
              <a:custGeom>
                <a:avLst/>
                <a:gdLst>
                  <a:gd name="T0" fmla="*/ 59 w 75"/>
                  <a:gd name="T1" fmla="*/ 46 h 74"/>
                  <a:gd name="T2" fmla="*/ 59 w 75"/>
                  <a:gd name="T3" fmla="*/ 33 h 74"/>
                  <a:gd name="T4" fmla="*/ 67 w 75"/>
                  <a:gd name="T5" fmla="*/ 25 h 74"/>
                  <a:gd name="T6" fmla="*/ 75 w 75"/>
                  <a:gd name="T7" fmla="*/ 33 h 74"/>
                  <a:gd name="T8" fmla="*/ 75 w 75"/>
                  <a:gd name="T9" fmla="*/ 66 h 74"/>
                  <a:gd name="T10" fmla="*/ 66 w 75"/>
                  <a:gd name="T11" fmla="*/ 74 h 74"/>
                  <a:gd name="T12" fmla="*/ 34 w 75"/>
                  <a:gd name="T13" fmla="*/ 74 h 74"/>
                  <a:gd name="T14" fmla="*/ 25 w 75"/>
                  <a:gd name="T15" fmla="*/ 67 h 74"/>
                  <a:gd name="T16" fmla="*/ 34 w 75"/>
                  <a:gd name="T17" fmla="*/ 59 h 74"/>
                  <a:gd name="T18" fmla="*/ 48 w 75"/>
                  <a:gd name="T19" fmla="*/ 59 h 74"/>
                  <a:gd name="T20" fmla="*/ 43 w 75"/>
                  <a:gd name="T21" fmla="*/ 54 h 74"/>
                  <a:gd name="T22" fmla="*/ 5 w 75"/>
                  <a:gd name="T23" fmla="*/ 16 h 74"/>
                  <a:gd name="T24" fmla="*/ 3 w 75"/>
                  <a:gd name="T25" fmla="*/ 5 h 74"/>
                  <a:gd name="T26" fmla="*/ 16 w 75"/>
                  <a:gd name="T27" fmla="*/ 5 h 74"/>
                  <a:gd name="T28" fmla="*/ 40 w 75"/>
                  <a:gd name="T29" fmla="*/ 28 h 74"/>
                  <a:gd name="T30" fmla="*/ 58 w 75"/>
                  <a:gd name="T31" fmla="*/ 47 h 74"/>
                  <a:gd name="T32" fmla="*/ 59 w 75"/>
                  <a:gd name="T33" fmla="*/ 4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5" h="74">
                    <a:moveTo>
                      <a:pt x="59" y="46"/>
                    </a:moveTo>
                    <a:cubicBezTo>
                      <a:pt x="59" y="42"/>
                      <a:pt x="59" y="37"/>
                      <a:pt x="59" y="33"/>
                    </a:cubicBezTo>
                    <a:cubicBezTo>
                      <a:pt x="59" y="28"/>
                      <a:pt x="62" y="25"/>
                      <a:pt x="67" y="25"/>
                    </a:cubicBezTo>
                    <a:cubicBezTo>
                      <a:pt x="71" y="25"/>
                      <a:pt x="75" y="28"/>
                      <a:pt x="75" y="33"/>
                    </a:cubicBezTo>
                    <a:cubicBezTo>
                      <a:pt x="75" y="44"/>
                      <a:pt x="75" y="55"/>
                      <a:pt x="75" y="66"/>
                    </a:cubicBezTo>
                    <a:cubicBezTo>
                      <a:pt x="75" y="71"/>
                      <a:pt x="71" y="74"/>
                      <a:pt x="66" y="74"/>
                    </a:cubicBezTo>
                    <a:cubicBezTo>
                      <a:pt x="55" y="74"/>
                      <a:pt x="44" y="74"/>
                      <a:pt x="34" y="74"/>
                    </a:cubicBezTo>
                    <a:cubicBezTo>
                      <a:pt x="28" y="74"/>
                      <a:pt x="25" y="71"/>
                      <a:pt x="25" y="67"/>
                    </a:cubicBezTo>
                    <a:cubicBezTo>
                      <a:pt x="25" y="62"/>
                      <a:pt x="28" y="59"/>
                      <a:pt x="34" y="59"/>
                    </a:cubicBezTo>
                    <a:cubicBezTo>
                      <a:pt x="38" y="59"/>
                      <a:pt x="42" y="59"/>
                      <a:pt x="48" y="59"/>
                    </a:cubicBezTo>
                    <a:cubicBezTo>
                      <a:pt x="46" y="57"/>
                      <a:pt x="45" y="55"/>
                      <a:pt x="43" y="54"/>
                    </a:cubicBezTo>
                    <a:cubicBezTo>
                      <a:pt x="31" y="42"/>
                      <a:pt x="18" y="29"/>
                      <a:pt x="5" y="16"/>
                    </a:cubicBezTo>
                    <a:cubicBezTo>
                      <a:pt x="2" y="13"/>
                      <a:pt x="0" y="9"/>
                      <a:pt x="3" y="5"/>
                    </a:cubicBezTo>
                    <a:cubicBezTo>
                      <a:pt x="6" y="0"/>
                      <a:pt x="11" y="0"/>
                      <a:pt x="16" y="5"/>
                    </a:cubicBezTo>
                    <a:cubicBezTo>
                      <a:pt x="24" y="12"/>
                      <a:pt x="32" y="20"/>
                      <a:pt x="40" y="28"/>
                    </a:cubicBezTo>
                    <a:cubicBezTo>
                      <a:pt x="46" y="34"/>
                      <a:pt x="52" y="40"/>
                      <a:pt x="58" y="47"/>
                    </a:cubicBezTo>
                    <a:cubicBezTo>
                      <a:pt x="58" y="47"/>
                      <a:pt x="59" y="46"/>
                      <a:pt x="59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4" name="Freeform 10"/>
              <p:cNvSpPr>
                <a:spLocks/>
              </p:cNvSpPr>
              <p:nvPr/>
            </p:nvSpPr>
            <p:spPr bwMode="auto">
              <a:xfrm>
                <a:off x="340" y="812"/>
                <a:ext cx="176" cy="176"/>
              </a:xfrm>
              <a:custGeom>
                <a:avLst/>
                <a:gdLst>
                  <a:gd name="T0" fmla="*/ 16 w 74"/>
                  <a:gd name="T1" fmla="*/ 47 h 74"/>
                  <a:gd name="T2" fmla="*/ 46 w 74"/>
                  <a:gd name="T3" fmla="*/ 17 h 74"/>
                  <a:gd name="T4" fmla="*/ 59 w 74"/>
                  <a:gd name="T5" fmla="*/ 4 h 74"/>
                  <a:gd name="T6" fmla="*/ 71 w 74"/>
                  <a:gd name="T7" fmla="*/ 3 h 74"/>
                  <a:gd name="T8" fmla="*/ 70 w 74"/>
                  <a:gd name="T9" fmla="*/ 15 h 74"/>
                  <a:gd name="T10" fmla="*/ 67 w 74"/>
                  <a:gd name="T11" fmla="*/ 18 h 74"/>
                  <a:gd name="T12" fmla="*/ 32 w 74"/>
                  <a:gd name="T13" fmla="*/ 54 h 74"/>
                  <a:gd name="T14" fmla="*/ 27 w 74"/>
                  <a:gd name="T15" fmla="*/ 58 h 74"/>
                  <a:gd name="T16" fmla="*/ 42 w 74"/>
                  <a:gd name="T17" fmla="*/ 58 h 74"/>
                  <a:gd name="T18" fmla="*/ 50 w 74"/>
                  <a:gd name="T19" fmla="*/ 66 h 74"/>
                  <a:gd name="T20" fmla="*/ 42 w 74"/>
                  <a:gd name="T21" fmla="*/ 74 h 74"/>
                  <a:gd name="T22" fmla="*/ 9 w 74"/>
                  <a:gd name="T23" fmla="*/ 74 h 74"/>
                  <a:gd name="T24" fmla="*/ 1 w 74"/>
                  <a:gd name="T25" fmla="*/ 66 h 74"/>
                  <a:gd name="T26" fmla="*/ 1 w 74"/>
                  <a:gd name="T27" fmla="*/ 32 h 74"/>
                  <a:gd name="T28" fmla="*/ 8 w 74"/>
                  <a:gd name="T29" fmla="*/ 24 h 74"/>
                  <a:gd name="T30" fmla="*/ 16 w 74"/>
                  <a:gd name="T31" fmla="*/ 33 h 74"/>
                  <a:gd name="T32" fmla="*/ 16 w 74"/>
                  <a:gd name="T33" fmla="*/ 4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4" h="74">
                    <a:moveTo>
                      <a:pt x="16" y="47"/>
                    </a:moveTo>
                    <a:cubicBezTo>
                      <a:pt x="27" y="36"/>
                      <a:pt x="36" y="27"/>
                      <a:pt x="46" y="17"/>
                    </a:cubicBezTo>
                    <a:cubicBezTo>
                      <a:pt x="50" y="13"/>
                      <a:pt x="55" y="8"/>
                      <a:pt x="59" y="4"/>
                    </a:cubicBezTo>
                    <a:cubicBezTo>
                      <a:pt x="63" y="0"/>
                      <a:pt x="68" y="0"/>
                      <a:pt x="71" y="3"/>
                    </a:cubicBezTo>
                    <a:cubicBezTo>
                      <a:pt x="74" y="6"/>
                      <a:pt x="74" y="11"/>
                      <a:pt x="70" y="15"/>
                    </a:cubicBezTo>
                    <a:cubicBezTo>
                      <a:pt x="69" y="16"/>
                      <a:pt x="68" y="17"/>
                      <a:pt x="67" y="18"/>
                    </a:cubicBezTo>
                    <a:cubicBezTo>
                      <a:pt x="56" y="30"/>
                      <a:pt x="44" y="42"/>
                      <a:pt x="32" y="54"/>
                    </a:cubicBezTo>
                    <a:cubicBezTo>
                      <a:pt x="31" y="55"/>
                      <a:pt x="29" y="56"/>
                      <a:pt x="27" y="58"/>
                    </a:cubicBezTo>
                    <a:cubicBezTo>
                      <a:pt x="33" y="58"/>
                      <a:pt x="37" y="58"/>
                      <a:pt x="42" y="58"/>
                    </a:cubicBezTo>
                    <a:cubicBezTo>
                      <a:pt x="47" y="59"/>
                      <a:pt x="50" y="62"/>
                      <a:pt x="50" y="66"/>
                    </a:cubicBezTo>
                    <a:cubicBezTo>
                      <a:pt x="50" y="70"/>
                      <a:pt x="47" y="74"/>
                      <a:pt x="42" y="74"/>
                    </a:cubicBezTo>
                    <a:cubicBezTo>
                      <a:pt x="31" y="74"/>
                      <a:pt x="20" y="74"/>
                      <a:pt x="9" y="74"/>
                    </a:cubicBezTo>
                    <a:cubicBezTo>
                      <a:pt x="3" y="74"/>
                      <a:pt x="1" y="71"/>
                      <a:pt x="1" y="66"/>
                    </a:cubicBezTo>
                    <a:cubicBezTo>
                      <a:pt x="0" y="55"/>
                      <a:pt x="0" y="43"/>
                      <a:pt x="1" y="32"/>
                    </a:cubicBezTo>
                    <a:cubicBezTo>
                      <a:pt x="1" y="27"/>
                      <a:pt x="4" y="24"/>
                      <a:pt x="8" y="24"/>
                    </a:cubicBezTo>
                    <a:cubicBezTo>
                      <a:pt x="13" y="24"/>
                      <a:pt x="16" y="28"/>
                      <a:pt x="16" y="33"/>
                    </a:cubicBezTo>
                    <a:cubicBezTo>
                      <a:pt x="16" y="37"/>
                      <a:pt x="16" y="41"/>
                      <a:pt x="16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5" name="Freeform 11"/>
              <p:cNvSpPr>
                <a:spLocks/>
              </p:cNvSpPr>
              <p:nvPr/>
            </p:nvSpPr>
            <p:spPr bwMode="auto">
              <a:xfrm>
                <a:off x="552" y="297"/>
                <a:ext cx="155" cy="233"/>
              </a:xfrm>
              <a:custGeom>
                <a:avLst/>
                <a:gdLst>
                  <a:gd name="T0" fmla="*/ 40 w 65"/>
                  <a:gd name="T1" fmla="*/ 29 h 98"/>
                  <a:gd name="T2" fmla="*/ 40 w 65"/>
                  <a:gd name="T3" fmla="*/ 35 h 98"/>
                  <a:gd name="T4" fmla="*/ 40 w 65"/>
                  <a:gd name="T5" fmla="*/ 87 h 98"/>
                  <a:gd name="T6" fmla="*/ 39 w 65"/>
                  <a:gd name="T7" fmla="*/ 94 h 98"/>
                  <a:gd name="T8" fmla="*/ 31 w 65"/>
                  <a:gd name="T9" fmla="*/ 97 h 98"/>
                  <a:gd name="T10" fmla="*/ 25 w 65"/>
                  <a:gd name="T11" fmla="*/ 89 h 98"/>
                  <a:gd name="T12" fmla="*/ 25 w 65"/>
                  <a:gd name="T13" fmla="*/ 42 h 98"/>
                  <a:gd name="T14" fmla="*/ 25 w 65"/>
                  <a:gd name="T15" fmla="*/ 28 h 98"/>
                  <a:gd name="T16" fmla="*/ 15 w 65"/>
                  <a:gd name="T17" fmla="*/ 38 h 98"/>
                  <a:gd name="T18" fmla="*/ 3 w 65"/>
                  <a:gd name="T19" fmla="*/ 39 h 98"/>
                  <a:gd name="T20" fmla="*/ 4 w 65"/>
                  <a:gd name="T21" fmla="*/ 27 h 98"/>
                  <a:gd name="T22" fmla="*/ 26 w 65"/>
                  <a:gd name="T23" fmla="*/ 4 h 98"/>
                  <a:gd name="T24" fmla="*/ 39 w 65"/>
                  <a:gd name="T25" fmla="*/ 4 h 98"/>
                  <a:gd name="T26" fmla="*/ 62 w 65"/>
                  <a:gd name="T27" fmla="*/ 27 h 98"/>
                  <a:gd name="T28" fmla="*/ 62 w 65"/>
                  <a:gd name="T29" fmla="*/ 39 h 98"/>
                  <a:gd name="T30" fmla="*/ 50 w 65"/>
                  <a:gd name="T31" fmla="*/ 38 h 98"/>
                  <a:gd name="T32" fmla="*/ 42 w 65"/>
                  <a:gd name="T33" fmla="*/ 30 h 98"/>
                  <a:gd name="T34" fmla="*/ 40 w 65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98">
                    <a:moveTo>
                      <a:pt x="40" y="29"/>
                    </a:moveTo>
                    <a:cubicBezTo>
                      <a:pt x="40" y="31"/>
                      <a:pt x="40" y="33"/>
                      <a:pt x="40" y="35"/>
                    </a:cubicBezTo>
                    <a:cubicBezTo>
                      <a:pt x="40" y="53"/>
                      <a:pt x="40" y="70"/>
                      <a:pt x="40" y="87"/>
                    </a:cubicBezTo>
                    <a:cubicBezTo>
                      <a:pt x="40" y="90"/>
                      <a:pt x="40" y="93"/>
                      <a:pt x="39" y="94"/>
                    </a:cubicBezTo>
                    <a:cubicBezTo>
                      <a:pt x="37" y="96"/>
                      <a:pt x="33" y="98"/>
                      <a:pt x="31" y="97"/>
                    </a:cubicBezTo>
                    <a:cubicBezTo>
                      <a:pt x="26" y="97"/>
                      <a:pt x="25" y="93"/>
                      <a:pt x="25" y="89"/>
                    </a:cubicBezTo>
                    <a:cubicBezTo>
                      <a:pt x="25" y="73"/>
                      <a:pt x="25" y="58"/>
                      <a:pt x="25" y="42"/>
                    </a:cubicBezTo>
                    <a:cubicBezTo>
                      <a:pt x="25" y="38"/>
                      <a:pt x="25" y="34"/>
                      <a:pt x="25" y="28"/>
                    </a:cubicBezTo>
                    <a:cubicBezTo>
                      <a:pt x="21" y="32"/>
                      <a:pt x="18" y="35"/>
                      <a:pt x="15" y="38"/>
                    </a:cubicBezTo>
                    <a:cubicBezTo>
                      <a:pt x="11" y="41"/>
                      <a:pt x="7" y="41"/>
                      <a:pt x="3" y="39"/>
                    </a:cubicBezTo>
                    <a:cubicBezTo>
                      <a:pt x="0" y="35"/>
                      <a:pt x="0" y="31"/>
                      <a:pt x="4" y="27"/>
                    </a:cubicBezTo>
                    <a:cubicBezTo>
                      <a:pt x="11" y="19"/>
                      <a:pt x="18" y="12"/>
                      <a:pt x="26" y="4"/>
                    </a:cubicBezTo>
                    <a:cubicBezTo>
                      <a:pt x="30" y="0"/>
                      <a:pt x="34" y="0"/>
                      <a:pt x="39" y="4"/>
                    </a:cubicBezTo>
                    <a:cubicBezTo>
                      <a:pt x="47" y="12"/>
                      <a:pt x="54" y="19"/>
                      <a:pt x="62" y="27"/>
                    </a:cubicBezTo>
                    <a:cubicBezTo>
                      <a:pt x="65" y="31"/>
                      <a:pt x="65" y="36"/>
                      <a:pt x="62" y="39"/>
                    </a:cubicBezTo>
                    <a:cubicBezTo>
                      <a:pt x="59" y="42"/>
                      <a:pt x="54" y="42"/>
                      <a:pt x="50" y="38"/>
                    </a:cubicBezTo>
                    <a:cubicBezTo>
                      <a:pt x="47" y="35"/>
                      <a:pt x="45" y="32"/>
                      <a:pt x="42" y="30"/>
                    </a:cubicBezTo>
                    <a:cubicBezTo>
                      <a:pt x="42" y="30"/>
                      <a:pt x="41" y="30"/>
                      <a:pt x="4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6" name="Freeform 12"/>
              <p:cNvSpPr>
                <a:spLocks/>
              </p:cNvSpPr>
              <p:nvPr/>
            </p:nvSpPr>
            <p:spPr bwMode="auto">
              <a:xfrm>
                <a:off x="340" y="411"/>
                <a:ext cx="174" cy="177"/>
              </a:xfrm>
              <a:custGeom>
                <a:avLst/>
                <a:gdLst>
                  <a:gd name="T0" fmla="*/ 27 w 73"/>
                  <a:gd name="T1" fmla="*/ 16 h 74"/>
                  <a:gd name="T2" fmla="*/ 68 w 73"/>
                  <a:gd name="T3" fmla="*/ 56 h 74"/>
                  <a:gd name="T4" fmla="*/ 72 w 73"/>
                  <a:gd name="T5" fmla="*/ 61 h 74"/>
                  <a:gd name="T6" fmla="*/ 71 w 73"/>
                  <a:gd name="T7" fmla="*/ 69 h 74"/>
                  <a:gd name="T8" fmla="*/ 63 w 73"/>
                  <a:gd name="T9" fmla="*/ 72 h 74"/>
                  <a:gd name="T10" fmla="*/ 57 w 73"/>
                  <a:gd name="T11" fmla="*/ 68 h 74"/>
                  <a:gd name="T12" fmla="*/ 16 w 73"/>
                  <a:gd name="T13" fmla="*/ 27 h 74"/>
                  <a:gd name="T14" fmla="*/ 16 w 73"/>
                  <a:gd name="T15" fmla="*/ 40 h 74"/>
                  <a:gd name="T16" fmla="*/ 8 w 73"/>
                  <a:gd name="T17" fmla="*/ 50 h 74"/>
                  <a:gd name="T18" fmla="*/ 0 w 73"/>
                  <a:gd name="T19" fmla="*/ 40 h 74"/>
                  <a:gd name="T20" fmla="*/ 0 w 73"/>
                  <a:gd name="T21" fmla="*/ 10 h 74"/>
                  <a:gd name="T22" fmla="*/ 10 w 73"/>
                  <a:gd name="T23" fmla="*/ 0 h 74"/>
                  <a:gd name="T24" fmla="*/ 41 w 73"/>
                  <a:gd name="T25" fmla="*/ 0 h 74"/>
                  <a:gd name="T26" fmla="*/ 50 w 73"/>
                  <a:gd name="T27" fmla="*/ 8 h 74"/>
                  <a:gd name="T28" fmla="*/ 41 w 73"/>
                  <a:gd name="T29" fmla="*/ 16 h 74"/>
                  <a:gd name="T30" fmla="*/ 27 w 73"/>
                  <a:gd name="T31" fmla="*/ 1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3" h="74">
                    <a:moveTo>
                      <a:pt x="27" y="16"/>
                    </a:moveTo>
                    <a:cubicBezTo>
                      <a:pt x="41" y="30"/>
                      <a:pt x="55" y="43"/>
                      <a:pt x="68" y="56"/>
                    </a:cubicBezTo>
                    <a:cubicBezTo>
                      <a:pt x="69" y="58"/>
                      <a:pt x="71" y="59"/>
                      <a:pt x="72" y="61"/>
                    </a:cubicBezTo>
                    <a:cubicBezTo>
                      <a:pt x="72" y="64"/>
                      <a:pt x="73" y="67"/>
                      <a:pt x="71" y="69"/>
                    </a:cubicBezTo>
                    <a:cubicBezTo>
                      <a:pt x="70" y="72"/>
                      <a:pt x="66" y="74"/>
                      <a:pt x="63" y="72"/>
                    </a:cubicBezTo>
                    <a:cubicBezTo>
                      <a:pt x="60" y="71"/>
                      <a:pt x="59" y="69"/>
                      <a:pt x="57" y="68"/>
                    </a:cubicBezTo>
                    <a:cubicBezTo>
                      <a:pt x="44" y="55"/>
                      <a:pt x="30" y="41"/>
                      <a:pt x="16" y="27"/>
                    </a:cubicBezTo>
                    <a:cubicBezTo>
                      <a:pt x="16" y="32"/>
                      <a:pt x="16" y="36"/>
                      <a:pt x="16" y="40"/>
                    </a:cubicBezTo>
                    <a:cubicBezTo>
                      <a:pt x="16" y="46"/>
                      <a:pt x="13" y="50"/>
                      <a:pt x="8" y="50"/>
                    </a:cubicBezTo>
                    <a:cubicBezTo>
                      <a:pt x="4" y="50"/>
                      <a:pt x="1" y="46"/>
                      <a:pt x="0" y="40"/>
                    </a:cubicBezTo>
                    <a:cubicBezTo>
                      <a:pt x="0" y="30"/>
                      <a:pt x="0" y="20"/>
                      <a:pt x="0" y="10"/>
                    </a:cubicBezTo>
                    <a:cubicBezTo>
                      <a:pt x="1" y="3"/>
                      <a:pt x="3" y="0"/>
                      <a:pt x="10" y="0"/>
                    </a:cubicBezTo>
                    <a:cubicBezTo>
                      <a:pt x="20" y="0"/>
                      <a:pt x="31" y="0"/>
                      <a:pt x="41" y="0"/>
                    </a:cubicBezTo>
                    <a:cubicBezTo>
                      <a:pt x="47" y="0"/>
                      <a:pt x="51" y="4"/>
                      <a:pt x="50" y="8"/>
                    </a:cubicBezTo>
                    <a:cubicBezTo>
                      <a:pt x="50" y="13"/>
                      <a:pt x="47" y="16"/>
                      <a:pt x="41" y="16"/>
                    </a:cubicBezTo>
                    <a:cubicBezTo>
                      <a:pt x="37" y="16"/>
                      <a:pt x="33" y="16"/>
                      <a:pt x="27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7" name="Freeform 13"/>
              <p:cNvSpPr>
                <a:spLocks/>
              </p:cNvSpPr>
              <p:nvPr/>
            </p:nvSpPr>
            <p:spPr bwMode="auto">
              <a:xfrm>
                <a:off x="226" y="621"/>
                <a:ext cx="233" cy="155"/>
              </a:xfrm>
              <a:custGeom>
                <a:avLst/>
                <a:gdLst>
                  <a:gd name="T0" fmla="*/ 28 w 98"/>
                  <a:gd name="T1" fmla="*/ 25 h 65"/>
                  <a:gd name="T2" fmla="*/ 85 w 98"/>
                  <a:gd name="T3" fmla="*/ 25 h 65"/>
                  <a:gd name="T4" fmla="*/ 91 w 98"/>
                  <a:gd name="T5" fmla="*/ 25 h 65"/>
                  <a:gd name="T6" fmla="*/ 98 w 98"/>
                  <a:gd name="T7" fmla="*/ 32 h 65"/>
                  <a:gd name="T8" fmla="*/ 92 w 98"/>
                  <a:gd name="T9" fmla="*/ 40 h 65"/>
                  <a:gd name="T10" fmla="*/ 87 w 98"/>
                  <a:gd name="T11" fmla="*/ 40 h 65"/>
                  <a:gd name="T12" fmla="*/ 35 w 98"/>
                  <a:gd name="T13" fmla="*/ 41 h 65"/>
                  <a:gd name="T14" fmla="*/ 28 w 98"/>
                  <a:gd name="T15" fmla="*/ 41 h 65"/>
                  <a:gd name="T16" fmla="*/ 38 w 98"/>
                  <a:gd name="T17" fmla="*/ 50 h 65"/>
                  <a:gd name="T18" fmla="*/ 39 w 98"/>
                  <a:gd name="T19" fmla="*/ 62 h 65"/>
                  <a:gd name="T20" fmla="*/ 27 w 98"/>
                  <a:gd name="T21" fmla="*/ 61 h 65"/>
                  <a:gd name="T22" fmla="*/ 4 w 98"/>
                  <a:gd name="T23" fmla="*/ 39 h 65"/>
                  <a:gd name="T24" fmla="*/ 4 w 98"/>
                  <a:gd name="T25" fmla="*/ 25 h 65"/>
                  <a:gd name="T26" fmla="*/ 27 w 98"/>
                  <a:gd name="T27" fmla="*/ 4 h 65"/>
                  <a:gd name="T28" fmla="*/ 39 w 98"/>
                  <a:gd name="T29" fmla="*/ 3 h 65"/>
                  <a:gd name="T30" fmla="*/ 39 w 98"/>
                  <a:gd name="T31" fmla="*/ 14 h 65"/>
                  <a:gd name="T32" fmla="*/ 34 w 98"/>
                  <a:gd name="T33" fmla="*/ 19 h 65"/>
                  <a:gd name="T34" fmla="*/ 28 w 98"/>
                  <a:gd name="T3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8" h="65">
                    <a:moveTo>
                      <a:pt x="28" y="25"/>
                    </a:moveTo>
                    <a:cubicBezTo>
                      <a:pt x="48" y="25"/>
                      <a:pt x="67" y="25"/>
                      <a:pt x="85" y="25"/>
                    </a:cubicBezTo>
                    <a:cubicBezTo>
                      <a:pt x="87" y="25"/>
                      <a:pt x="89" y="25"/>
                      <a:pt x="91" y="25"/>
                    </a:cubicBezTo>
                    <a:cubicBezTo>
                      <a:pt x="95" y="26"/>
                      <a:pt x="97" y="28"/>
                      <a:pt x="98" y="32"/>
                    </a:cubicBezTo>
                    <a:cubicBezTo>
                      <a:pt x="98" y="36"/>
                      <a:pt x="96" y="39"/>
                      <a:pt x="92" y="40"/>
                    </a:cubicBezTo>
                    <a:cubicBezTo>
                      <a:pt x="90" y="41"/>
                      <a:pt x="88" y="40"/>
                      <a:pt x="87" y="40"/>
                    </a:cubicBezTo>
                    <a:cubicBezTo>
                      <a:pt x="69" y="41"/>
                      <a:pt x="52" y="41"/>
                      <a:pt x="35" y="41"/>
                    </a:cubicBezTo>
                    <a:cubicBezTo>
                      <a:pt x="33" y="41"/>
                      <a:pt x="31" y="41"/>
                      <a:pt x="28" y="41"/>
                    </a:cubicBezTo>
                    <a:cubicBezTo>
                      <a:pt x="32" y="45"/>
                      <a:pt x="35" y="47"/>
                      <a:pt x="38" y="50"/>
                    </a:cubicBezTo>
                    <a:cubicBezTo>
                      <a:pt x="41" y="54"/>
                      <a:pt x="42" y="59"/>
                      <a:pt x="39" y="62"/>
                    </a:cubicBezTo>
                    <a:cubicBezTo>
                      <a:pt x="36" y="65"/>
                      <a:pt x="31" y="65"/>
                      <a:pt x="27" y="61"/>
                    </a:cubicBezTo>
                    <a:cubicBezTo>
                      <a:pt x="19" y="54"/>
                      <a:pt x="12" y="46"/>
                      <a:pt x="4" y="39"/>
                    </a:cubicBezTo>
                    <a:cubicBezTo>
                      <a:pt x="0" y="34"/>
                      <a:pt x="0" y="30"/>
                      <a:pt x="4" y="25"/>
                    </a:cubicBezTo>
                    <a:cubicBezTo>
                      <a:pt x="12" y="18"/>
                      <a:pt x="20" y="11"/>
                      <a:pt x="27" y="4"/>
                    </a:cubicBezTo>
                    <a:cubicBezTo>
                      <a:pt x="31" y="0"/>
                      <a:pt x="36" y="0"/>
                      <a:pt x="39" y="3"/>
                    </a:cubicBezTo>
                    <a:cubicBezTo>
                      <a:pt x="42" y="6"/>
                      <a:pt x="42" y="11"/>
                      <a:pt x="39" y="14"/>
                    </a:cubicBezTo>
                    <a:cubicBezTo>
                      <a:pt x="37" y="16"/>
                      <a:pt x="35" y="18"/>
                      <a:pt x="34" y="19"/>
                    </a:cubicBezTo>
                    <a:cubicBezTo>
                      <a:pt x="32" y="21"/>
                      <a:pt x="31" y="22"/>
                      <a:pt x="28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68" name="Group 67"/>
          <p:cNvGrpSpPr/>
          <p:nvPr/>
        </p:nvGrpSpPr>
        <p:grpSpPr>
          <a:xfrm>
            <a:off x="4725742" y="3423773"/>
            <a:ext cx="686209" cy="666708"/>
            <a:chOff x="4332041" y="3548318"/>
            <a:chExt cx="686209" cy="666708"/>
          </a:xfrm>
        </p:grpSpPr>
        <p:sp>
          <p:nvSpPr>
            <p:cNvPr id="69" name="Freeform 820"/>
            <p:cNvSpPr>
              <a:spLocks/>
            </p:cNvSpPr>
            <p:nvPr/>
          </p:nvSpPr>
          <p:spPr bwMode="auto">
            <a:xfrm>
              <a:off x="4332041" y="3548318"/>
              <a:ext cx="686209" cy="666708"/>
            </a:xfrm>
            <a:custGeom>
              <a:avLst/>
              <a:gdLst>
                <a:gd name="T0" fmla="*/ 391 w 420"/>
                <a:gd name="T1" fmla="*/ 262 h 420"/>
                <a:gd name="T2" fmla="*/ 158 w 420"/>
                <a:gd name="T3" fmla="*/ 391 h 420"/>
                <a:gd name="T4" fmla="*/ 29 w 420"/>
                <a:gd name="T5" fmla="*/ 158 h 420"/>
                <a:gd name="T6" fmla="*/ 262 w 420"/>
                <a:gd name="T7" fmla="*/ 29 h 420"/>
                <a:gd name="T8" fmla="*/ 391 w 420"/>
                <a:gd name="T9" fmla="*/ 26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420">
                  <a:moveTo>
                    <a:pt x="391" y="262"/>
                  </a:moveTo>
                  <a:cubicBezTo>
                    <a:pt x="362" y="362"/>
                    <a:pt x="258" y="420"/>
                    <a:pt x="158" y="391"/>
                  </a:cubicBezTo>
                  <a:cubicBezTo>
                    <a:pt x="58" y="362"/>
                    <a:pt x="0" y="258"/>
                    <a:pt x="29" y="158"/>
                  </a:cubicBezTo>
                  <a:cubicBezTo>
                    <a:pt x="58" y="58"/>
                    <a:pt x="162" y="0"/>
                    <a:pt x="262" y="29"/>
                  </a:cubicBezTo>
                  <a:cubicBezTo>
                    <a:pt x="362" y="58"/>
                    <a:pt x="420" y="162"/>
                    <a:pt x="391" y="262"/>
                  </a:cubicBezTo>
                  <a:close/>
                </a:path>
              </a:pathLst>
            </a:custGeom>
            <a:solidFill>
              <a:srgbClr val="004F8A"/>
            </a:solidFill>
            <a:ln w="25400">
              <a:solidFill>
                <a:srgbClr val="FFFFFF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0" name="Freeform 14"/>
            <p:cNvSpPr>
              <a:spLocks noEditPoints="1"/>
            </p:cNvSpPr>
            <p:nvPr/>
          </p:nvSpPr>
          <p:spPr bwMode="auto">
            <a:xfrm>
              <a:off x="4531003" y="3707928"/>
              <a:ext cx="293540" cy="325913"/>
            </a:xfrm>
            <a:custGeom>
              <a:avLst/>
              <a:gdLst>
                <a:gd name="T0" fmla="*/ 550 w 1157"/>
                <a:gd name="T1" fmla="*/ 1071 h 1286"/>
                <a:gd name="T2" fmla="*/ 540 w 1157"/>
                <a:gd name="T3" fmla="*/ 948 h 1286"/>
                <a:gd name="T4" fmla="*/ 270 w 1157"/>
                <a:gd name="T5" fmla="*/ 832 h 1286"/>
                <a:gd name="T6" fmla="*/ 202 w 1157"/>
                <a:gd name="T7" fmla="*/ 867 h 1286"/>
                <a:gd name="T8" fmla="*/ 198 w 1157"/>
                <a:gd name="T9" fmla="*/ 1034 h 1286"/>
                <a:gd name="T10" fmla="*/ 0 w 1157"/>
                <a:gd name="T11" fmla="*/ 819 h 1286"/>
                <a:gd name="T12" fmla="*/ 242 w 1157"/>
                <a:gd name="T13" fmla="*/ 784 h 1286"/>
                <a:gd name="T14" fmla="*/ 250 w 1157"/>
                <a:gd name="T15" fmla="*/ 493 h 1286"/>
                <a:gd name="T16" fmla="*/ 175 w 1157"/>
                <a:gd name="T17" fmla="*/ 446 h 1286"/>
                <a:gd name="T18" fmla="*/ 22 w 1157"/>
                <a:gd name="T19" fmla="*/ 441 h 1286"/>
                <a:gd name="T20" fmla="*/ 0 w 1157"/>
                <a:gd name="T21" fmla="*/ 224 h 1286"/>
                <a:gd name="T22" fmla="*/ 198 w 1157"/>
                <a:gd name="T23" fmla="*/ 243 h 1286"/>
                <a:gd name="T24" fmla="*/ 215 w 1157"/>
                <a:gd name="T25" fmla="*/ 404 h 1286"/>
                <a:gd name="T26" fmla="*/ 535 w 1157"/>
                <a:gd name="T27" fmla="*/ 314 h 1286"/>
                <a:gd name="T28" fmla="*/ 550 w 1157"/>
                <a:gd name="T29" fmla="*/ 215 h 1286"/>
                <a:gd name="T30" fmla="*/ 480 w 1157"/>
                <a:gd name="T31" fmla="*/ 0 h 1286"/>
                <a:gd name="T32" fmla="*/ 676 w 1157"/>
                <a:gd name="T33" fmla="*/ 214 h 1286"/>
                <a:gd name="T34" fmla="*/ 606 w 1157"/>
                <a:gd name="T35" fmla="*/ 298 h 1286"/>
                <a:gd name="T36" fmla="*/ 870 w 1157"/>
                <a:gd name="T37" fmla="*/ 427 h 1286"/>
                <a:gd name="T38" fmla="*/ 958 w 1157"/>
                <a:gd name="T39" fmla="*/ 406 h 1286"/>
                <a:gd name="T40" fmla="*/ 1157 w 1157"/>
                <a:gd name="T41" fmla="*/ 238 h 1286"/>
                <a:gd name="T42" fmla="*/ 1056 w 1157"/>
                <a:gd name="T43" fmla="*/ 453 h 1286"/>
                <a:gd name="T44" fmla="*/ 906 w 1157"/>
                <a:gd name="T45" fmla="*/ 497 h 1286"/>
                <a:gd name="T46" fmla="*/ 919 w 1157"/>
                <a:gd name="T47" fmla="*/ 786 h 1286"/>
                <a:gd name="T48" fmla="*/ 1006 w 1157"/>
                <a:gd name="T49" fmla="*/ 819 h 1286"/>
                <a:gd name="T50" fmla="*/ 1156 w 1157"/>
                <a:gd name="T51" fmla="*/ 1033 h 1286"/>
                <a:gd name="T52" fmla="*/ 958 w 1157"/>
                <a:gd name="T53" fmla="*/ 886 h 1286"/>
                <a:gd name="T54" fmla="*/ 813 w 1157"/>
                <a:gd name="T55" fmla="*/ 856 h 1286"/>
                <a:gd name="T56" fmla="*/ 605 w 1157"/>
                <a:gd name="T57" fmla="*/ 971 h 1286"/>
                <a:gd name="T58" fmla="*/ 676 w 1157"/>
                <a:gd name="T59" fmla="*/ 1070 h 1286"/>
                <a:gd name="T60" fmla="*/ 480 w 1157"/>
                <a:gd name="T61" fmla="*/ 1286 h 1286"/>
                <a:gd name="T62" fmla="*/ 606 w 1157"/>
                <a:gd name="T63" fmla="*/ 890 h 1286"/>
                <a:gd name="T64" fmla="*/ 840 w 1157"/>
                <a:gd name="T65" fmla="*/ 784 h 1286"/>
                <a:gd name="T66" fmla="*/ 852 w 1157"/>
                <a:gd name="T67" fmla="*/ 582 h 1286"/>
                <a:gd name="T68" fmla="*/ 842 w 1157"/>
                <a:gd name="T69" fmla="*/ 510 h 1286"/>
                <a:gd name="T70" fmla="*/ 606 w 1157"/>
                <a:gd name="T71" fmla="*/ 636 h 1286"/>
                <a:gd name="T72" fmla="*/ 606 w 1157"/>
                <a:gd name="T73" fmla="*/ 890 h 1286"/>
                <a:gd name="T74" fmla="*/ 551 w 1157"/>
                <a:gd name="T75" fmla="*/ 637 h 1286"/>
                <a:gd name="T76" fmla="*/ 322 w 1157"/>
                <a:gd name="T77" fmla="*/ 514 h 1286"/>
                <a:gd name="T78" fmla="*/ 305 w 1157"/>
                <a:gd name="T79" fmla="*/ 515 h 1286"/>
                <a:gd name="T80" fmla="*/ 320 w 1157"/>
                <a:gd name="T81" fmla="*/ 786 h 1286"/>
                <a:gd name="T82" fmla="*/ 550 w 1157"/>
                <a:gd name="T83" fmla="*/ 891 h 1286"/>
                <a:gd name="T84" fmla="*/ 362 w 1157"/>
                <a:gd name="T85" fmla="*/ 471 h 1286"/>
                <a:gd name="T86" fmla="*/ 633 w 1157"/>
                <a:gd name="T87" fmla="*/ 547 h 1286"/>
                <a:gd name="T88" fmla="*/ 806 w 1157"/>
                <a:gd name="T89" fmla="*/ 461 h 1286"/>
                <a:gd name="T90" fmla="*/ 571 w 1157"/>
                <a:gd name="T91" fmla="*/ 359 h 1286"/>
                <a:gd name="T92" fmla="*/ 55 w 1157"/>
                <a:gd name="T93" fmla="*/ 385 h 1286"/>
                <a:gd name="T94" fmla="*/ 142 w 1157"/>
                <a:gd name="T95" fmla="*/ 279 h 1286"/>
                <a:gd name="T96" fmla="*/ 55 w 1157"/>
                <a:gd name="T97" fmla="*/ 385 h 1286"/>
                <a:gd name="T98" fmla="*/ 1014 w 1157"/>
                <a:gd name="T99" fmla="*/ 293 h 1286"/>
                <a:gd name="T100" fmla="*/ 1101 w 1157"/>
                <a:gd name="T101" fmla="*/ 397 h 1286"/>
                <a:gd name="T102" fmla="*/ 535 w 1157"/>
                <a:gd name="T103" fmla="*/ 54 h 1286"/>
                <a:gd name="T104" fmla="*/ 622 w 1157"/>
                <a:gd name="T105" fmla="*/ 158 h 1286"/>
                <a:gd name="T106" fmla="*/ 535 w 1157"/>
                <a:gd name="T107" fmla="*/ 54 h 1286"/>
                <a:gd name="T108" fmla="*/ 141 w 1157"/>
                <a:gd name="T109" fmla="*/ 979 h 1286"/>
                <a:gd name="T110" fmla="*/ 55 w 1157"/>
                <a:gd name="T111" fmla="*/ 876 h 1286"/>
                <a:gd name="T112" fmla="*/ 1101 w 1157"/>
                <a:gd name="T113" fmla="*/ 979 h 1286"/>
                <a:gd name="T114" fmla="*/ 1015 w 1157"/>
                <a:gd name="T115" fmla="*/ 876 h 1286"/>
                <a:gd name="T116" fmla="*/ 1101 w 1157"/>
                <a:gd name="T117" fmla="*/ 979 h 1286"/>
                <a:gd name="T118" fmla="*/ 535 w 1157"/>
                <a:gd name="T119" fmla="*/ 1231 h 1286"/>
                <a:gd name="T120" fmla="*/ 621 w 1157"/>
                <a:gd name="T121" fmla="*/ 1127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7" h="1286">
                  <a:moveTo>
                    <a:pt x="480" y="1071"/>
                  </a:moveTo>
                  <a:cubicBezTo>
                    <a:pt x="504" y="1071"/>
                    <a:pt x="526" y="1071"/>
                    <a:pt x="550" y="1071"/>
                  </a:cubicBezTo>
                  <a:cubicBezTo>
                    <a:pt x="550" y="1033"/>
                    <a:pt x="550" y="996"/>
                    <a:pt x="550" y="959"/>
                  </a:cubicBezTo>
                  <a:cubicBezTo>
                    <a:pt x="550" y="955"/>
                    <a:pt x="544" y="950"/>
                    <a:pt x="540" y="948"/>
                  </a:cubicBezTo>
                  <a:cubicBezTo>
                    <a:pt x="456" y="909"/>
                    <a:pt x="372" y="870"/>
                    <a:pt x="288" y="831"/>
                  </a:cubicBezTo>
                  <a:cubicBezTo>
                    <a:pt x="283" y="829"/>
                    <a:pt x="276" y="831"/>
                    <a:pt x="270" y="832"/>
                  </a:cubicBezTo>
                  <a:cubicBezTo>
                    <a:pt x="269" y="832"/>
                    <a:pt x="267" y="833"/>
                    <a:pt x="266" y="833"/>
                  </a:cubicBezTo>
                  <a:cubicBezTo>
                    <a:pt x="244" y="844"/>
                    <a:pt x="213" y="849"/>
                    <a:pt x="202" y="867"/>
                  </a:cubicBezTo>
                  <a:cubicBezTo>
                    <a:pt x="191" y="884"/>
                    <a:pt x="198" y="914"/>
                    <a:pt x="198" y="939"/>
                  </a:cubicBezTo>
                  <a:cubicBezTo>
                    <a:pt x="198" y="970"/>
                    <a:pt x="198" y="1001"/>
                    <a:pt x="198" y="1034"/>
                  </a:cubicBezTo>
                  <a:cubicBezTo>
                    <a:pt x="132" y="1034"/>
                    <a:pt x="67" y="1034"/>
                    <a:pt x="0" y="1034"/>
                  </a:cubicBezTo>
                  <a:cubicBezTo>
                    <a:pt x="0" y="963"/>
                    <a:pt x="0" y="892"/>
                    <a:pt x="0" y="819"/>
                  </a:cubicBezTo>
                  <a:cubicBezTo>
                    <a:pt x="37" y="819"/>
                    <a:pt x="75" y="816"/>
                    <a:pt x="111" y="820"/>
                  </a:cubicBezTo>
                  <a:cubicBezTo>
                    <a:pt x="160" y="825"/>
                    <a:pt x="200" y="804"/>
                    <a:pt x="242" y="784"/>
                  </a:cubicBezTo>
                  <a:cubicBezTo>
                    <a:pt x="246" y="782"/>
                    <a:pt x="250" y="774"/>
                    <a:pt x="250" y="769"/>
                  </a:cubicBezTo>
                  <a:cubicBezTo>
                    <a:pt x="250" y="677"/>
                    <a:pt x="250" y="585"/>
                    <a:pt x="250" y="493"/>
                  </a:cubicBezTo>
                  <a:cubicBezTo>
                    <a:pt x="250" y="487"/>
                    <a:pt x="244" y="479"/>
                    <a:pt x="238" y="476"/>
                  </a:cubicBezTo>
                  <a:cubicBezTo>
                    <a:pt x="218" y="465"/>
                    <a:pt x="197" y="455"/>
                    <a:pt x="175" y="446"/>
                  </a:cubicBezTo>
                  <a:cubicBezTo>
                    <a:pt x="167" y="443"/>
                    <a:pt x="159" y="441"/>
                    <a:pt x="150" y="441"/>
                  </a:cubicBezTo>
                  <a:cubicBezTo>
                    <a:pt x="107" y="441"/>
                    <a:pt x="65" y="441"/>
                    <a:pt x="22" y="441"/>
                  </a:cubicBezTo>
                  <a:cubicBezTo>
                    <a:pt x="15" y="441"/>
                    <a:pt x="8" y="441"/>
                    <a:pt x="0" y="441"/>
                  </a:cubicBezTo>
                  <a:cubicBezTo>
                    <a:pt x="0" y="368"/>
                    <a:pt x="0" y="297"/>
                    <a:pt x="0" y="224"/>
                  </a:cubicBezTo>
                  <a:cubicBezTo>
                    <a:pt x="65" y="224"/>
                    <a:pt x="130" y="224"/>
                    <a:pt x="198" y="224"/>
                  </a:cubicBezTo>
                  <a:cubicBezTo>
                    <a:pt x="198" y="230"/>
                    <a:pt x="198" y="236"/>
                    <a:pt x="198" y="243"/>
                  </a:cubicBezTo>
                  <a:cubicBezTo>
                    <a:pt x="198" y="287"/>
                    <a:pt x="199" y="332"/>
                    <a:pt x="198" y="377"/>
                  </a:cubicBezTo>
                  <a:cubicBezTo>
                    <a:pt x="197" y="391"/>
                    <a:pt x="204" y="396"/>
                    <a:pt x="215" y="404"/>
                  </a:cubicBezTo>
                  <a:cubicBezTo>
                    <a:pt x="258" y="432"/>
                    <a:pt x="297" y="429"/>
                    <a:pt x="342" y="404"/>
                  </a:cubicBezTo>
                  <a:cubicBezTo>
                    <a:pt x="404" y="370"/>
                    <a:pt x="470" y="344"/>
                    <a:pt x="535" y="314"/>
                  </a:cubicBezTo>
                  <a:cubicBezTo>
                    <a:pt x="547" y="309"/>
                    <a:pt x="551" y="303"/>
                    <a:pt x="551" y="290"/>
                  </a:cubicBezTo>
                  <a:cubicBezTo>
                    <a:pt x="550" y="266"/>
                    <a:pt x="550" y="242"/>
                    <a:pt x="550" y="215"/>
                  </a:cubicBezTo>
                  <a:cubicBezTo>
                    <a:pt x="526" y="215"/>
                    <a:pt x="504" y="215"/>
                    <a:pt x="480" y="215"/>
                  </a:cubicBezTo>
                  <a:cubicBezTo>
                    <a:pt x="480" y="143"/>
                    <a:pt x="480" y="72"/>
                    <a:pt x="480" y="0"/>
                  </a:cubicBezTo>
                  <a:cubicBezTo>
                    <a:pt x="545" y="0"/>
                    <a:pt x="610" y="0"/>
                    <a:pt x="676" y="0"/>
                  </a:cubicBezTo>
                  <a:cubicBezTo>
                    <a:pt x="676" y="71"/>
                    <a:pt x="676" y="141"/>
                    <a:pt x="676" y="214"/>
                  </a:cubicBezTo>
                  <a:cubicBezTo>
                    <a:pt x="653" y="214"/>
                    <a:pt x="631" y="214"/>
                    <a:pt x="606" y="214"/>
                  </a:cubicBezTo>
                  <a:cubicBezTo>
                    <a:pt x="606" y="244"/>
                    <a:pt x="605" y="271"/>
                    <a:pt x="606" y="298"/>
                  </a:cubicBezTo>
                  <a:cubicBezTo>
                    <a:pt x="606" y="303"/>
                    <a:pt x="612" y="310"/>
                    <a:pt x="617" y="312"/>
                  </a:cubicBezTo>
                  <a:cubicBezTo>
                    <a:pt x="701" y="351"/>
                    <a:pt x="785" y="389"/>
                    <a:pt x="870" y="427"/>
                  </a:cubicBezTo>
                  <a:cubicBezTo>
                    <a:pt x="875" y="430"/>
                    <a:pt x="883" y="430"/>
                    <a:pt x="888" y="429"/>
                  </a:cubicBezTo>
                  <a:cubicBezTo>
                    <a:pt x="911" y="422"/>
                    <a:pt x="934" y="414"/>
                    <a:pt x="958" y="406"/>
                  </a:cubicBezTo>
                  <a:cubicBezTo>
                    <a:pt x="958" y="350"/>
                    <a:pt x="958" y="295"/>
                    <a:pt x="958" y="238"/>
                  </a:cubicBezTo>
                  <a:cubicBezTo>
                    <a:pt x="1025" y="238"/>
                    <a:pt x="1090" y="238"/>
                    <a:pt x="1157" y="238"/>
                  </a:cubicBezTo>
                  <a:cubicBezTo>
                    <a:pt x="1157" y="310"/>
                    <a:pt x="1157" y="380"/>
                    <a:pt x="1157" y="453"/>
                  </a:cubicBezTo>
                  <a:cubicBezTo>
                    <a:pt x="1123" y="453"/>
                    <a:pt x="1089" y="455"/>
                    <a:pt x="1056" y="453"/>
                  </a:cubicBezTo>
                  <a:cubicBezTo>
                    <a:pt x="1008" y="449"/>
                    <a:pt x="964" y="460"/>
                    <a:pt x="920" y="477"/>
                  </a:cubicBezTo>
                  <a:cubicBezTo>
                    <a:pt x="910" y="481"/>
                    <a:pt x="906" y="486"/>
                    <a:pt x="906" y="497"/>
                  </a:cubicBezTo>
                  <a:cubicBezTo>
                    <a:pt x="907" y="587"/>
                    <a:pt x="906" y="677"/>
                    <a:pt x="907" y="767"/>
                  </a:cubicBezTo>
                  <a:cubicBezTo>
                    <a:pt x="907" y="774"/>
                    <a:pt x="913" y="783"/>
                    <a:pt x="919" y="786"/>
                  </a:cubicBezTo>
                  <a:cubicBezTo>
                    <a:pt x="937" y="796"/>
                    <a:pt x="956" y="804"/>
                    <a:pt x="975" y="812"/>
                  </a:cubicBezTo>
                  <a:cubicBezTo>
                    <a:pt x="985" y="816"/>
                    <a:pt x="996" y="819"/>
                    <a:pt x="1006" y="819"/>
                  </a:cubicBezTo>
                  <a:cubicBezTo>
                    <a:pt x="1056" y="819"/>
                    <a:pt x="1106" y="819"/>
                    <a:pt x="1156" y="819"/>
                  </a:cubicBezTo>
                  <a:cubicBezTo>
                    <a:pt x="1156" y="891"/>
                    <a:pt x="1156" y="962"/>
                    <a:pt x="1156" y="1033"/>
                  </a:cubicBezTo>
                  <a:cubicBezTo>
                    <a:pt x="1091" y="1033"/>
                    <a:pt x="1025" y="1033"/>
                    <a:pt x="958" y="1033"/>
                  </a:cubicBezTo>
                  <a:cubicBezTo>
                    <a:pt x="958" y="984"/>
                    <a:pt x="957" y="935"/>
                    <a:pt x="958" y="886"/>
                  </a:cubicBezTo>
                  <a:cubicBezTo>
                    <a:pt x="959" y="871"/>
                    <a:pt x="952" y="865"/>
                    <a:pt x="941" y="857"/>
                  </a:cubicBezTo>
                  <a:cubicBezTo>
                    <a:pt x="897" y="826"/>
                    <a:pt x="858" y="831"/>
                    <a:pt x="813" y="856"/>
                  </a:cubicBezTo>
                  <a:cubicBezTo>
                    <a:pt x="751" y="889"/>
                    <a:pt x="686" y="916"/>
                    <a:pt x="621" y="945"/>
                  </a:cubicBezTo>
                  <a:cubicBezTo>
                    <a:pt x="609" y="951"/>
                    <a:pt x="605" y="958"/>
                    <a:pt x="605" y="971"/>
                  </a:cubicBezTo>
                  <a:cubicBezTo>
                    <a:pt x="606" y="1003"/>
                    <a:pt x="606" y="1036"/>
                    <a:pt x="606" y="1070"/>
                  </a:cubicBezTo>
                  <a:cubicBezTo>
                    <a:pt x="629" y="1070"/>
                    <a:pt x="652" y="1070"/>
                    <a:pt x="676" y="1070"/>
                  </a:cubicBezTo>
                  <a:cubicBezTo>
                    <a:pt x="676" y="1143"/>
                    <a:pt x="676" y="1214"/>
                    <a:pt x="676" y="1286"/>
                  </a:cubicBezTo>
                  <a:cubicBezTo>
                    <a:pt x="611" y="1286"/>
                    <a:pt x="546" y="1286"/>
                    <a:pt x="480" y="1286"/>
                  </a:cubicBezTo>
                  <a:cubicBezTo>
                    <a:pt x="480" y="1215"/>
                    <a:pt x="480" y="1144"/>
                    <a:pt x="480" y="1071"/>
                  </a:cubicBezTo>
                  <a:close/>
                  <a:moveTo>
                    <a:pt x="606" y="890"/>
                  </a:moveTo>
                  <a:cubicBezTo>
                    <a:pt x="609" y="889"/>
                    <a:pt x="612" y="889"/>
                    <a:pt x="613" y="888"/>
                  </a:cubicBezTo>
                  <a:cubicBezTo>
                    <a:pt x="689" y="854"/>
                    <a:pt x="765" y="819"/>
                    <a:pt x="840" y="784"/>
                  </a:cubicBezTo>
                  <a:cubicBezTo>
                    <a:pt x="846" y="781"/>
                    <a:pt x="851" y="770"/>
                    <a:pt x="851" y="762"/>
                  </a:cubicBezTo>
                  <a:cubicBezTo>
                    <a:pt x="852" y="702"/>
                    <a:pt x="852" y="642"/>
                    <a:pt x="852" y="582"/>
                  </a:cubicBezTo>
                  <a:cubicBezTo>
                    <a:pt x="852" y="558"/>
                    <a:pt x="852" y="533"/>
                    <a:pt x="852" y="507"/>
                  </a:cubicBezTo>
                  <a:cubicBezTo>
                    <a:pt x="847" y="508"/>
                    <a:pt x="844" y="509"/>
                    <a:pt x="842" y="510"/>
                  </a:cubicBezTo>
                  <a:cubicBezTo>
                    <a:pt x="767" y="545"/>
                    <a:pt x="691" y="580"/>
                    <a:pt x="616" y="616"/>
                  </a:cubicBezTo>
                  <a:cubicBezTo>
                    <a:pt x="611" y="618"/>
                    <a:pt x="606" y="629"/>
                    <a:pt x="606" y="636"/>
                  </a:cubicBezTo>
                  <a:cubicBezTo>
                    <a:pt x="605" y="686"/>
                    <a:pt x="606" y="737"/>
                    <a:pt x="606" y="788"/>
                  </a:cubicBezTo>
                  <a:cubicBezTo>
                    <a:pt x="606" y="821"/>
                    <a:pt x="606" y="855"/>
                    <a:pt x="606" y="890"/>
                  </a:cubicBezTo>
                  <a:close/>
                  <a:moveTo>
                    <a:pt x="550" y="891"/>
                  </a:moveTo>
                  <a:cubicBezTo>
                    <a:pt x="550" y="805"/>
                    <a:pt x="550" y="721"/>
                    <a:pt x="551" y="637"/>
                  </a:cubicBezTo>
                  <a:cubicBezTo>
                    <a:pt x="551" y="623"/>
                    <a:pt x="546" y="617"/>
                    <a:pt x="534" y="612"/>
                  </a:cubicBezTo>
                  <a:cubicBezTo>
                    <a:pt x="463" y="580"/>
                    <a:pt x="393" y="546"/>
                    <a:pt x="322" y="514"/>
                  </a:cubicBezTo>
                  <a:cubicBezTo>
                    <a:pt x="317" y="511"/>
                    <a:pt x="312" y="509"/>
                    <a:pt x="306" y="507"/>
                  </a:cubicBezTo>
                  <a:cubicBezTo>
                    <a:pt x="305" y="511"/>
                    <a:pt x="305" y="513"/>
                    <a:pt x="305" y="515"/>
                  </a:cubicBezTo>
                  <a:cubicBezTo>
                    <a:pt x="304" y="599"/>
                    <a:pt x="304" y="683"/>
                    <a:pt x="305" y="767"/>
                  </a:cubicBezTo>
                  <a:cubicBezTo>
                    <a:pt x="305" y="774"/>
                    <a:pt x="313" y="783"/>
                    <a:pt x="320" y="786"/>
                  </a:cubicBezTo>
                  <a:cubicBezTo>
                    <a:pt x="390" y="819"/>
                    <a:pt x="459" y="850"/>
                    <a:pt x="529" y="882"/>
                  </a:cubicBezTo>
                  <a:cubicBezTo>
                    <a:pt x="535" y="885"/>
                    <a:pt x="542" y="887"/>
                    <a:pt x="550" y="891"/>
                  </a:cubicBezTo>
                  <a:close/>
                  <a:moveTo>
                    <a:pt x="344" y="463"/>
                  </a:moveTo>
                  <a:cubicBezTo>
                    <a:pt x="352" y="467"/>
                    <a:pt x="357" y="469"/>
                    <a:pt x="362" y="471"/>
                  </a:cubicBezTo>
                  <a:cubicBezTo>
                    <a:pt x="416" y="497"/>
                    <a:pt x="472" y="519"/>
                    <a:pt x="524" y="548"/>
                  </a:cubicBezTo>
                  <a:cubicBezTo>
                    <a:pt x="562" y="569"/>
                    <a:pt x="594" y="567"/>
                    <a:pt x="633" y="547"/>
                  </a:cubicBezTo>
                  <a:cubicBezTo>
                    <a:pt x="690" y="517"/>
                    <a:pt x="750" y="493"/>
                    <a:pt x="810" y="466"/>
                  </a:cubicBezTo>
                  <a:cubicBezTo>
                    <a:pt x="808" y="463"/>
                    <a:pt x="807" y="462"/>
                    <a:pt x="806" y="461"/>
                  </a:cubicBezTo>
                  <a:cubicBezTo>
                    <a:pt x="733" y="427"/>
                    <a:pt x="659" y="393"/>
                    <a:pt x="586" y="359"/>
                  </a:cubicBezTo>
                  <a:cubicBezTo>
                    <a:pt x="581" y="357"/>
                    <a:pt x="575" y="357"/>
                    <a:pt x="571" y="359"/>
                  </a:cubicBezTo>
                  <a:cubicBezTo>
                    <a:pt x="496" y="392"/>
                    <a:pt x="422" y="427"/>
                    <a:pt x="344" y="463"/>
                  </a:cubicBezTo>
                  <a:close/>
                  <a:moveTo>
                    <a:pt x="55" y="385"/>
                  </a:moveTo>
                  <a:cubicBezTo>
                    <a:pt x="85" y="385"/>
                    <a:pt x="113" y="385"/>
                    <a:pt x="142" y="385"/>
                  </a:cubicBezTo>
                  <a:cubicBezTo>
                    <a:pt x="142" y="349"/>
                    <a:pt x="142" y="315"/>
                    <a:pt x="142" y="279"/>
                  </a:cubicBezTo>
                  <a:cubicBezTo>
                    <a:pt x="112" y="279"/>
                    <a:pt x="84" y="279"/>
                    <a:pt x="55" y="279"/>
                  </a:cubicBezTo>
                  <a:cubicBezTo>
                    <a:pt x="55" y="315"/>
                    <a:pt x="55" y="349"/>
                    <a:pt x="55" y="385"/>
                  </a:cubicBezTo>
                  <a:close/>
                  <a:moveTo>
                    <a:pt x="1101" y="293"/>
                  </a:moveTo>
                  <a:cubicBezTo>
                    <a:pt x="1072" y="293"/>
                    <a:pt x="1043" y="293"/>
                    <a:pt x="1014" y="293"/>
                  </a:cubicBezTo>
                  <a:cubicBezTo>
                    <a:pt x="1014" y="328"/>
                    <a:pt x="1014" y="362"/>
                    <a:pt x="1014" y="397"/>
                  </a:cubicBezTo>
                  <a:cubicBezTo>
                    <a:pt x="1044" y="397"/>
                    <a:pt x="1072" y="397"/>
                    <a:pt x="1101" y="397"/>
                  </a:cubicBezTo>
                  <a:cubicBezTo>
                    <a:pt x="1101" y="362"/>
                    <a:pt x="1101" y="329"/>
                    <a:pt x="1101" y="293"/>
                  </a:cubicBezTo>
                  <a:close/>
                  <a:moveTo>
                    <a:pt x="535" y="54"/>
                  </a:moveTo>
                  <a:cubicBezTo>
                    <a:pt x="535" y="90"/>
                    <a:pt x="535" y="124"/>
                    <a:pt x="535" y="158"/>
                  </a:cubicBezTo>
                  <a:cubicBezTo>
                    <a:pt x="564" y="158"/>
                    <a:pt x="593" y="158"/>
                    <a:pt x="622" y="158"/>
                  </a:cubicBezTo>
                  <a:cubicBezTo>
                    <a:pt x="622" y="123"/>
                    <a:pt x="622" y="89"/>
                    <a:pt x="622" y="54"/>
                  </a:cubicBezTo>
                  <a:cubicBezTo>
                    <a:pt x="592" y="54"/>
                    <a:pt x="564" y="54"/>
                    <a:pt x="535" y="54"/>
                  </a:cubicBezTo>
                  <a:close/>
                  <a:moveTo>
                    <a:pt x="55" y="979"/>
                  </a:moveTo>
                  <a:cubicBezTo>
                    <a:pt x="85" y="979"/>
                    <a:pt x="113" y="979"/>
                    <a:pt x="141" y="979"/>
                  </a:cubicBezTo>
                  <a:cubicBezTo>
                    <a:pt x="141" y="944"/>
                    <a:pt x="141" y="910"/>
                    <a:pt x="141" y="876"/>
                  </a:cubicBezTo>
                  <a:cubicBezTo>
                    <a:pt x="112" y="876"/>
                    <a:pt x="83" y="876"/>
                    <a:pt x="55" y="876"/>
                  </a:cubicBezTo>
                  <a:cubicBezTo>
                    <a:pt x="55" y="911"/>
                    <a:pt x="55" y="944"/>
                    <a:pt x="55" y="979"/>
                  </a:cubicBezTo>
                  <a:close/>
                  <a:moveTo>
                    <a:pt x="1101" y="979"/>
                  </a:moveTo>
                  <a:cubicBezTo>
                    <a:pt x="1101" y="943"/>
                    <a:pt x="1101" y="909"/>
                    <a:pt x="1101" y="876"/>
                  </a:cubicBezTo>
                  <a:cubicBezTo>
                    <a:pt x="1071" y="876"/>
                    <a:pt x="1043" y="876"/>
                    <a:pt x="1015" y="876"/>
                  </a:cubicBezTo>
                  <a:cubicBezTo>
                    <a:pt x="1015" y="911"/>
                    <a:pt x="1015" y="945"/>
                    <a:pt x="1015" y="979"/>
                  </a:cubicBezTo>
                  <a:cubicBezTo>
                    <a:pt x="1044" y="979"/>
                    <a:pt x="1072" y="979"/>
                    <a:pt x="1101" y="979"/>
                  </a:cubicBezTo>
                  <a:close/>
                  <a:moveTo>
                    <a:pt x="535" y="1127"/>
                  </a:moveTo>
                  <a:cubicBezTo>
                    <a:pt x="535" y="1163"/>
                    <a:pt x="535" y="1198"/>
                    <a:pt x="535" y="1231"/>
                  </a:cubicBezTo>
                  <a:cubicBezTo>
                    <a:pt x="565" y="1231"/>
                    <a:pt x="593" y="1231"/>
                    <a:pt x="621" y="1231"/>
                  </a:cubicBezTo>
                  <a:cubicBezTo>
                    <a:pt x="621" y="1196"/>
                    <a:pt x="621" y="1162"/>
                    <a:pt x="621" y="1127"/>
                  </a:cubicBezTo>
                  <a:cubicBezTo>
                    <a:pt x="592" y="1127"/>
                    <a:pt x="564" y="1127"/>
                    <a:pt x="535" y="11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5536003" y="3038936"/>
            <a:ext cx="686209" cy="666708"/>
            <a:chOff x="3754616" y="1683895"/>
            <a:chExt cx="488293" cy="474417"/>
          </a:xfrm>
        </p:grpSpPr>
        <p:sp>
          <p:nvSpPr>
            <p:cNvPr id="72" name="Freeform 820"/>
            <p:cNvSpPr>
              <a:spLocks/>
            </p:cNvSpPr>
            <p:nvPr/>
          </p:nvSpPr>
          <p:spPr bwMode="auto">
            <a:xfrm>
              <a:off x="3754616" y="1683895"/>
              <a:ext cx="488293" cy="474417"/>
            </a:xfrm>
            <a:custGeom>
              <a:avLst/>
              <a:gdLst>
                <a:gd name="T0" fmla="*/ 391 w 420"/>
                <a:gd name="T1" fmla="*/ 262 h 420"/>
                <a:gd name="T2" fmla="*/ 158 w 420"/>
                <a:gd name="T3" fmla="*/ 391 h 420"/>
                <a:gd name="T4" fmla="*/ 29 w 420"/>
                <a:gd name="T5" fmla="*/ 158 h 420"/>
                <a:gd name="T6" fmla="*/ 262 w 420"/>
                <a:gd name="T7" fmla="*/ 29 h 420"/>
                <a:gd name="T8" fmla="*/ 391 w 420"/>
                <a:gd name="T9" fmla="*/ 26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420">
                  <a:moveTo>
                    <a:pt x="391" y="262"/>
                  </a:moveTo>
                  <a:cubicBezTo>
                    <a:pt x="362" y="362"/>
                    <a:pt x="258" y="420"/>
                    <a:pt x="158" y="391"/>
                  </a:cubicBezTo>
                  <a:cubicBezTo>
                    <a:pt x="58" y="362"/>
                    <a:pt x="0" y="258"/>
                    <a:pt x="29" y="158"/>
                  </a:cubicBezTo>
                  <a:cubicBezTo>
                    <a:pt x="58" y="58"/>
                    <a:pt x="162" y="0"/>
                    <a:pt x="262" y="29"/>
                  </a:cubicBezTo>
                  <a:cubicBezTo>
                    <a:pt x="362" y="58"/>
                    <a:pt x="420" y="162"/>
                    <a:pt x="391" y="262"/>
                  </a:cubicBezTo>
                  <a:close/>
                </a:path>
              </a:pathLst>
            </a:custGeom>
            <a:solidFill>
              <a:srgbClr val="005A7A"/>
            </a:solidFill>
            <a:ln w="25400">
              <a:solidFill>
                <a:srgbClr val="FFFFFF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73" name="Group 72"/>
            <p:cNvGrpSpPr/>
            <p:nvPr/>
          </p:nvGrpSpPr>
          <p:grpSpPr>
            <a:xfrm>
              <a:off x="3882373" y="1822611"/>
              <a:ext cx="228230" cy="218704"/>
              <a:chOff x="8913830" y="3929063"/>
              <a:chExt cx="798512" cy="765183"/>
            </a:xfrm>
            <a:solidFill>
              <a:schemeClr val="bg1"/>
            </a:solidFill>
          </p:grpSpPr>
          <p:sp>
            <p:nvSpPr>
              <p:cNvPr id="74" name="Freeform 205"/>
              <p:cNvSpPr>
                <a:spLocks noEditPoints="1"/>
              </p:cNvSpPr>
              <p:nvPr/>
            </p:nvSpPr>
            <p:spPr bwMode="auto">
              <a:xfrm>
                <a:off x="8913830" y="4298958"/>
                <a:ext cx="798512" cy="395288"/>
              </a:xfrm>
              <a:custGeom>
                <a:avLst/>
                <a:gdLst>
                  <a:gd name="T0" fmla="*/ 2 w 1212"/>
                  <a:gd name="T1" fmla="*/ 601 h 601"/>
                  <a:gd name="T2" fmla="*/ 0 w 1212"/>
                  <a:gd name="T3" fmla="*/ 417 h 601"/>
                  <a:gd name="T4" fmla="*/ 357 w 1212"/>
                  <a:gd name="T5" fmla="*/ 174 h 601"/>
                  <a:gd name="T6" fmla="*/ 887 w 1212"/>
                  <a:gd name="T7" fmla="*/ 178 h 601"/>
                  <a:gd name="T8" fmla="*/ 1211 w 1212"/>
                  <a:gd name="T9" fmla="*/ 601 h 601"/>
                  <a:gd name="T10" fmla="*/ 449 w 1212"/>
                  <a:gd name="T11" fmla="*/ 131 h 601"/>
                  <a:gd name="T12" fmla="*/ 331 w 1212"/>
                  <a:gd name="T13" fmla="*/ 563 h 601"/>
                  <a:gd name="T14" fmla="*/ 424 w 1212"/>
                  <a:gd name="T15" fmla="*/ 567 h 601"/>
                  <a:gd name="T16" fmla="*/ 459 w 1212"/>
                  <a:gd name="T17" fmla="*/ 403 h 601"/>
                  <a:gd name="T18" fmla="*/ 756 w 1212"/>
                  <a:gd name="T19" fmla="*/ 567 h 601"/>
                  <a:gd name="T20" fmla="*/ 789 w 1212"/>
                  <a:gd name="T21" fmla="*/ 403 h 601"/>
                  <a:gd name="T22" fmla="*/ 895 w 1212"/>
                  <a:gd name="T23" fmla="*/ 567 h 601"/>
                  <a:gd name="T24" fmla="*/ 875 w 1212"/>
                  <a:gd name="T25" fmla="*/ 256 h 601"/>
                  <a:gd name="T26" fmla="*/ 614 w 1212"/>
                  <a:gd name="T27" fmla="*/ 425 h 601"/>
                  <a:gd name="T28" fmla="*/ 295 w 1212"/>
                  <a:gd name="T29" fmla="*/ 410 h 601"/>
                  <a:gd name="T30" fmla="*/ 265 w 1212"/>
                  <a:gd name="T31" fmla="*/ 200 h 601"/>
                  <a:gd name="T32" fmla="*/ 265 w 1212"/>
                  <a:gd name="T33" fmla="*/ 383 h 601"/>
                  <a:gd name="T34" fmla="*/ 231 w 1212"/>
                  <a:gd name="T35" fmla="*/ 292 h 601"/>
                  <a:gd name="T36" fmla="*/ 36 w 1212"/>
                  <a:gd name="T37" fmla="*/ 404 h 601"/>
                  <a:gd name="T38" fmla="*/ 35 w 1212"/>
                  <a:gd name="T39" fmla="*/ 567 h 601"/>
                  <a:gd name="T40" fmla="*/ 110 w 1212"/>
                  <a:gd name="T41" fmla="*/ 457 h 601"/>
                  <a:gd name="T42" fmla="*/ 145 w 1212"/>
                  <a:gd name="T43" fmla="*/ 568 h 601"/>
                  <a:gd name="T44" fmla="*/ 1176 w 1212"/>
                  <a:gd name="T45" fmla="*/ 567 h 601"/>
                  <a:gd name="T46" fmla="*/ 1110 w 1212"/>
                  <a:gd name="T47" fmla="*/ 261 h 601"/>
                  <a:gd name="T48" fmla="*/ 990 w 1212"/>
                  <a:gd name="T49" fmla="*/ 383 h 601"/>
                  <a:gd name="T50" fmla="*/ 955 w 1212"/>
                  <a:gd name="T51" fmla="*/ 199 h 601"/>
                  <a:gd name="T52" fmla="*/ 933 w 1212"/>
                  <a:gd name="T53" fmla="*/ 567 h 601"/>
                  <a:gd name="T54" fmla="*/ 1058 w 1212"/>
                  <a:gd name="T55" fmla="*/ 456 h 601"/>
                  <a:gd name="T56" fmla="*/ 1093 w 1212"/>
                  <a:gd name="T57" fmla="*/ 567 h 601"/>
                  <a:gd name="T58" fmla="*/ 612 w 1212"/>
                  <a:gd name="T59" fmla="*/ 352 h 601"/>
                  <a:gd name="T60" fmla="*/ 647 w 1212"/>
                  <a:gd name="T61" fmla="*/ 198 h 601"/>
                  <a:gd name="T62" fmla="*/ 576 w 1212"/>
                  <a:gd name="T63" fmla="*/ 177 h 601"/>
                  <a:gd name="T64" fmla="*/ 558 w 1212"/>
                  <a:gd name="T65" fmla="*/ 255 h 601"/>
                  <a:gd name="T66" fmla="*/ 556 w 1212"/>
                  <a:gd name="T67" fmla="*/ 82 h 601"/>
                  <a:gd name="T68" fmla="*/ 661 w 1212"/>
                  <a:gd name="T69" fmla="*/ 82 h 601"/>
                  <a:gd name="T70" fmla="*/ 735 w 1212"/>
                  <a:gd name="T71" fmla="*/ 106 h 601"/>
                  <a:gd name="T72" fmla="*/ 687 w 1212"/>
                  <a:gd name="T73" fmla="*/ 202 h 601"/>
                  <a:gd name="T74" fmla="*/ 518 w 1212"/>
                  <a:gd name="T75" fmla="*/ 95 h 601"/>
                  <a:gd name="T76" fmla="*/ 529 w 1212"/>
                  <a:gd name="T77" fmla="*/ 204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12" h="601">
                    <a:moveTo>
                      <a:pt x="1211" y="601"/>
                    </a:moveTo>
                    <a:cubicBezTo>
                      <a:pt x="807" y="601"/>
                      <a:pt x="405" y="601"/>
                      <a:pt x="2" y="601"/>
                    </a:cubicBezTo>
                    <a:cubicBezTo>
                      <a:pt x="1" y="595"/>
                      <a:pt x="0" y="589"/>
                      <a:pt x="0" y="583"/>
                    </a:cubicBezTo>
                    <a:cubicBezTo>
                      <a:pt x="0" y="528"/>
                      <a:pt x="0" y="473"/>
                      <a:pt x="0" y="417"/>
                    </a:cubicBezTo>
                    <a:cubicBezTo>
                      <a:pt x="2" y="241"/>
                      <a:pt x="166" y="124"/>
                      <a:pt x="333" y="182"/>
                    </a:cubicBezTo>
                    <a:cubicBezTo>
                      <a:pt x="345" y="186"/>
                      <a:pt x="350" y="183"/>
                      <a:pt x="357" y="174"/>
                    </a:cubicBezTo>
                    <a:cubicBezTo>
                      <a:pt x="490" y="2"/>
                      <a:pt x="729" y="0"/>
                      <a:pt x="867" y="170"/>
                    </a:cubicBezTo>
                    <a:cubicBezTo>
                      <a:pt x="871" y="175"/>
                      <a:pt x="882" y="180"/>
                      <a:pt x="887" y="178"/>
                    </a:cubicBezTo>
                    <a:cubicBezTo>
                      <a:pt x="1040" y="126"/>
                      <a:pt x="1207" y="238"/>
                      <a:pt x="1211" y="413"/>
                    </a:cubicBezTo>
                    <a:cubicBezTo>
                      <a:pt x="1212" y="475"/>
                      <a:pt x="1211" y="537"/>
                      <a:pt x="1211" y="601"/>
                    </a:cubicBezTo>
                    <a:close/>
                    <a:moveTo>
                      <a:pt x="614" y="425"/>
                    </a:moveTo>
                    <a:cubicBezTo>
                      <a:pt x="558" y="326"/>
                      <a:pt x="504" y="229"/>
                      <a:pt x="449" y="131"/>
                    </a:cubicBezTo>
                    <a:cubicBezTo>
                      <a:pt x="389" y="175"/>
                      <a:pt x="345" y="231"/>
                      <a:pt x="338" y="302"/>
                    </a:cubicBezTo>
                    <a:cubicBezTo>
                      <a:pt x="329" y="389"/>
                      <a:pt x="332" y="476"/>
                      <a:pt x="331" y="563"/>
                    </a:cubicBezTo>
                    <a:cubicBezTo>
                      <a:pt x="331" y="564"/>
                      <a:pt x="332" y="566"/>
                      <a:pt x="333" y="567"/>
                    </a:cubicBezTo>
                    <a:cubicBezTo>
                      <a:pt x="362" y="567"/>
                      <a:pt x="392" y="567"/>
                      <a:pt x="424" y="567"/>
                    </a:cubicBezTo>
                    <a:cubicBezTo>
                      <a:pt x="424" y="512"/>
                      <a:pt x="424" y="458"/>
                      <a:pt x="424" y="403"/>
                    </a:cubicBezTo>
                    <a:cubicBezTo>
                      <a:pt x="436" y="403"/>
                      <a:pt x="447" y="403"/>
                      <a:pt x="459" y="403"/>
                    </a:cubicBezTo>
                    <a:cubicBezTo>
                      <a:pt x="459" y="459"/>
                      <a:pt x="459" y="513"/>
                      <a:pt x="459" y="567"/>
                    </a:cubicBezTo>
                    <a:cubicBezTo>
                      <a:pt x="559" y="567"/>
                      <a:pt x="656" y="567"/>
                      <a:pt x="756" y="567"/>
                    </a:cubicBezTo>
                    <a:cubicBezTo>
                      <a:pt x="756" y="511"/>
                      <a:pt x="756" y="457"/>
                      <a:pt x="756" y="403"/>
                    </a:cubicBezTo>
                    <a:cubicBezTo>
                      <a:pt x="768" y="403"/>
                      <a:pt x="778" y="403"/>
                      <a:pt x="789" y="403"/>
                    </a:cubicBezTo>
                    <a:cubicBezTo>
                      <a:pt x="789" y="459"/>
                      <a:pt x="789" y="512"/>
                      <a:pt x="789" y="567"/>
                    </a:cubicBezTo>
                    <a:cubicBezTo>
                      <a:pt x="826" y="567"/>
                      <a:pt x="860" y="567"/>
                      <a:pt x="895" y="567"/>
                    </a:cubicBezTo>
                    <a:cubicBezTo>
                      <a:pt x="895" y="489"/>
                      <a:pt x="897" y="413"/>
                      <a:pt x="894" y="337"/>
                    </a:cubicBezTo>
                    <a:cubicBezTo>
                      <a:pt x="893" y="310"/>
                      <a:pt x="885" y="282"/>
                      <a:pt x="875" y="256"/>
                    </a:cubicBezTo>
                    <a:cubicBezTo>
                      <a:pt x="854" y="200"/>
                      <a:pt x="818" y="155"/>
                      <a:pt x="765" y="123"/>
                    </a:cubicBezTo>
                    <a:cubicBezTo>
                      <a:pt x="714" y="223"/>
                      <a:pt x="665" y="323"/>
                      <a:pt x="614" y="425"/>
                    </a:cubicBezTo>
                    <a:close/>
                    <a:moveTo>
                      <a:pt x="296" y="568"/>
                    </a:moveTo>
                    <a:cubicBezTo>
                      <a:pt x="296" y="514"/>
                      <a:pt x="297" y="462"/>
                      <a:pt x="295" y="410"/>
                    </a:cubicBezTo>
                    <a:cubicBezTo>
                      <a:pt x="294" y="344"/>
                      <a:pt x="297" y="280"/>
                      <a:pt x="331" y="217"/>
                    </a:cubicBezTo>
                    <a:cubicBezTo>
                      <a:pt x="308" y="211"/>
                      <a:pt x="288" y="206"/>
                      <a:pt x="265" y="200"/>
                    </a:cubicBezTo>
                    <a:cubicBezTo>
                      <a:pt x="265" y="234"/>
                      <a:pt x="265" y="264"/>
                      <a:pt x="265" y="293"/>
                    </a:cubicBezTo>
                    <a:cubicBezTo>
                      <a:pt x="265" y="323"/>
                      <a:pt x="265" y="353"/>
                      <a:pt x="265" y="383"/>
                    </a:cubicBezTo>
                    <a:cubicBezTo>
                      <a:pt x="252" y="383"/>
                      <a:pt x="243" y="383"/>
                      <a:pt x="231" y="383"/>
                    </a:cubicBezTo>
                    <a:cubicBezTo>
                      <a:pt x="231" y="352"/>
                      <a:pt x="231" y="322"/>
                      <a:pt x="231" y="292"/>
                    </a:cubicBezTo>
                    <a:cubicBezTo>
                      <a:pt x="231" y="263"/>
                      <a:pt x="231" y="233"/>
                      <a:pt x="231" y="204"/>
                    </a:cubicBezTo>
                    <a:cubicBezTo>
                      <a:pt x="124" y="211"/>
                      <a:pt x="37" y="301"/>
                      <a:pt x="36" y="404"/>
                    </a:cubicBezTo>
                    <a:cubicBezTo>
                      <a:pt x="35" y="449"/>
                      <a:pt x="35" y="494"/>
                      <a:pt x="35" y="540"/>
                    </a:cubicBezTo>
                    <a:cubicBezTo>
                      <a:pt x="35" y="549"/>
                      <a:pt x="35" y="558"/>
                      <a:pt x="35" y="567"/>
                    </a:cubicBezTo>
                    <a:cubicBezTo>
                      <a:pt x="61" y="567"/>
                      <a:pt x="84" y="567"/>
                      <a:pt x="110" y="567"/>
                    </a:cubicBezTo>
                    <a:cubicBezTo>
                      <a:pt x="110" y="529"/>
                      <a:pt x="110" y="493"/>
                      <a:pt x="110" y="457"/>
                    </a:cubicBezTo>
                    <a:cubicBezTo>
                      <a:pt x="122" y="457"/>
                      <a:pt x="133" y="457"/>
                      <a:pt x="145" y="457"/>
                    </a:cubicBezTo>
                    <a:cubicBezTo>
                      <a:pt x="145" y="494"/>
                      <a:pt x="145" y="531"/>
                      <a:pt x="145" y="568"/>
                    </a:cubicBezTo>
                    <a:cubicBezTo>
                      <a:pt x="195" y="568"/>
                      <a:pt x="244" y="568"/>
                      <a:pt x="296" y="568"/>
                    </a:cubicBezTo>
                    <a:close/>
                    <a:moveTo>
                      <a:pt x="1176" y="567"/>
                    </a:moveTo>
                    <a:cubicBezTo>
                      <a:pt x="1176" y="514"/>
                      <a:pt x="1177" y="462"/>
                      <a:pt x="1176" y="411"/>
                    </a:cubicBezTo>
                    <a:cubicBezTo>
                      <a:pt x="1175" y="352"/>
                      <a:pt x="1153" y="302"/>
                      <a:pt x="1110" y="261"/>
                    </a:cubicBezTo>
                    <a:cubicBezTo>
                      <a:pt x="1077" y="229"/>
                      <a:pt x="1039" y="209"/>
                      <a:pt x="990" y="204"/>
                    </a:cubicBezTo>
                    <a:cubicBezTo>
                      <a:pt x="990" y="265"/>
                      <a:pt x="990" y="324"/>
                      <a:pt x="990" y="383"/>
                    </a:cubicBezTo>
                    <a:cubicBezTo>
                      <a:pt x="977" y="383"/>
                      <a:pt x="968" y="383"/>
                      <a:pt x="955" y="383"/>
                    </a:cubicBezTo>
                    <a:cubicBezTo>
                      <a:pt x="955" y="322"/>
                      <a:pt x="955" y="262"/>
                      <a:pt x="955" y="199"/>
                    </a:cubicBezTo>
                    <a:cubicBezTo>
                      <a:pt x="933" y="204"/>
                      <a:pt x="914" y="208"/>
                      <a:pt x="894" y="212"/>
                    </a:cubicBezTo>
                    <a:cubicBezTo>
                      <a:pt x="953" y="328"/>
                      <a:pt x="922" y="450"/>
                      <a:pt x="933" y="567"/>
                    </a:cubicBezTo>
                    <a:cubicBezTo>
                      <a:pt x="975" y="567"/>
                      <a:pt x="1015" y="567"/>
                      <a:pt x="1058" y="567"/>
                    </a:cubicBezTo>
                    <a:cubicBezTo>
                      <a:pt x="1058" y="530"/>
                      <a:pt x="1058" y="494"/>
                      <a:pt x="1058" y="456"/>
                    </a:cubicBezTo>
                    <a:cubicBezTo>
                      <a:pt x="1071" y="456"/>
                      <a:pt x="1081" y="456"/>
                      <a:pt x="1093" y="456"/>
                    </a:cubicBezTo>
                    <a:cubicBezTo>
                      <a:pt x="1093" y="494"/>
                      <a:pt x="1093" y="530"/>
                      <a:pt x="1093" y="567"/>
                    </a:cubicBezTo>
                    <a:cubicBezTo>
                      <a:pt x="1122" y="567"/>
                      <a:pt x="1148" y="567"/>
                      <a:pt x="1176" y="567"/>
                    </a:cubicBezTo>
                    <a:close/>
                    <a:moveTo>
                      <a:pt x="612" y="352"/>
                    </a:moveTo>
                    <a:cubicBezTo>
                      <a:pt x="623" y="331"/>
                      <a:pt x="629" y="313"/>
                      <a:pt x="640" y="298"/>
                    </a:cubicBezTo>
                    <a:cubicBezTo>
                      <a:pt x="661" y="265"/>
                      <a:pt x="663" y="234"/>
                      <a:pt x="647" y="198"/>
                    </a:cubicBezTo>
                    <a:cubicBezTo>
                      <a:pt x="632" y="163"/>
                      <a:pt x="635" y="162"/>
                      <a:pt x="596" y="163"/>
                    </a:cubicBezTo>
                    <a:cubicBezTo>
                      <a:pt x="585" y="163"/>
                      <a:pt x="579" y="166"/>
                      <a:pt x="576" y="177"/>
                    </a:cubicBezTo>
                    <a:cubicBezTo>
                      <a:pt x="571" y="197"/>
                      <a:pt x="564" y="217"/>
                      <a:pt x="558" y="238"/>
                    </a:cubicBezTo>
                    <a:cubicBezTo>
                      <a:pt x="556" y="243"/>
                      <a:pt x="556" y="250"/>
                      <a:pt x="558" y="255"/>
                    </a:cubicBezTo>
                    <a:cubicBezTo>
                      <a:pt x="575" y="286"/>
                      <a:pt x="593" y="317"/>
                      <a:pt x="612" y="352"/>
                    </a:cubicBezTo>
                    <a:close/>
                    <a:moveTo>
                      <a:pt x="556" y="82"/>
                    </a:moveTo>
                    <a:cubicBezTo>
                      <a:pt x="573" y="129"/>
                      <a:pt x="576" y="132"/>
                      <a:pt x="624" y="129"/>
                    </a:cubicBezTo>
                    <a:cubicBezTo>
                      <a:pt x="652" y="127"/>
                      <a:pt x="645" y="98"/>
                      <a:pt x="661" y="82"/>
                    </a:cubicBezTo>
                    <a:cubicBezTo>
                      <a:pt x="623" y="82"/>
                      <a:pt x="590" y="82"/>
                      <a:pt x="556" y="82"/>
                    </a:cubicBezTo>
                    <a:close/>
                    <a:moveTo>
                      <a:pt x="735" y="106"/>
                    </a:moveTo>
                    <a:cubicBezTo>
                      <a:pt x="720" y="100"/>
                      <a:pt x="707" y="95"/>
                      <a:pt x="696" y="91"/>
                    </a:cubicBezTo>
                    <a:cubicBezTo>
                      <a:pt x="666" y="128"/>
                      <a:pt x="661" y="164"/>
                      <a:pt x="687" y="202"/>
                    </a:cubicBezTo>
                    <a:cubicBezTo>
                      <a:pt x="702" y="171"/>
                      <a:pt x="718" y="139"/>
                      <a:pt x="735" y="106"/>
                    </a:cubicBezTo>
                    <a:close/>
                    <a:moveTo>
                      <a:pt x="518" y="95"/>
                    </a:moveTo>
                    <a:cubicBezTo>
                      <a:pt x="506" y="100"/>
                      <a:pt x="493" y="106"/>
                      <a:pt x="478" y="112"/>
                    </a:cubicBezTo>
                    <a:cubicBezTo>
                      <a:pt x="496" y="144"/>
                      <a:pt x="513" y="174"/>
                      <a:pt x="529" y="204"/>
                    </a:cubicBezTo>
                    <a:cubicBezTo>
                      <a:pt x="554" y="165"/>
                      <a:pt x="549" y="130"/>
                      <a:pt x="518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75" name="Freeform 206"/>
              <p:cNvSpPr>
                <a:spLocks noEditPoints="1"/>
              </p:cNvSpPr>
              <p:nvPr/>
            </p:nvSpPr>
            <p:spPr bwMode="auto">
              <a:xfrm>
                <a:off x="8928100" y="3929063"/>
                <a:ext cx="750887" cy="482600"/>
              </a:xfrm>
              <a:custGeom>
                <a:avLst/>
                <a:gdLst>
                  <a:gd name="T0" fmla="*/ 1075 w 1140"/>
                  <a:gd name="T1" fmla="*/ 625 h 734"/>
                  <a:gd name="T2" fmla="*/ 1106 w 1140"/>
                  <a:gd name="T3" fmla="*/ 601 h 734"/>
                  <a:gd name="T4" fmla="*/ 1106 w 1140"/>
                  <a:gd name="T5" fmla="*/ 61 h 734"/>
                  <a:gd name="T6" fmla="*/ 1080 w 1140"/>
                  <a:gd name="T7" fmla="*/ 34 h 734"/>
                  <a:gd name="T8" fmla="*/ 62 w 1140"/>
                  <a:gd name="T9" fmla="*/ 34 h 734"/>
                  <a:gd name="T10" fmla="*/ 35 w 1140"/>
                  <a:gd name="T11" fmla="*/ 61 h 734"/>
                  <a:gd name="T12" fmla="*/ 35 w 1140"/>
                  <a:gd name="T13" fmla="*/ 601 h 734"/>
                  <a:gd name="T14" fmla="*/ 61 w 1140"/>
                  <a:gd name="T15" fmla="*/ 628 h 734"/>
                  <a:gd name="T16" fmla="*/ 90 w 1140"/>
                  <a:gd name="T17" fmla="*/ 628 h 734"/>
                  <a:gd name="T18" fmla="*/ 90 w 1140"/>
                  <a:gd name="T19" fmla="*/ 562 h 734"/>
                  <a:gd name="T20" fmla="*/ 222 w 1140"/>
                  <a:gd name="T21" fmla="*/ 444 h 734"/>
                  <a:gd name="T22" fmla="*/ 359 w 1140"/>
                  <a:gd name="T23" fmla="*/ 541 h 734"/>
                  <a:gd name="T24" fmla="*/ 295 w 1140"/>
                  <a:gd name="T25" fmla="*/ 703 h 734"/>
                  <a:gd name="T26" fmla="*/ 125 w 1140"/>
                  <a:gd name="T27" fmla="*/ 676 h 734"/>
                  <a:gd name="T28" fmla="*/ 96 w 1140"/>
                  <a:gd name="T29" fmla="*/ 663 h 734"/>
                  <a:gd name="T30" fmla="*/ 48 w 1140"/>
                  <a:gd name="T31" fmla="*/ 663 h 734"/>
                  <a:gd name="T32" fmla="*/ 1 w 1140"/>
                  <a:gd name="T33" fmla="*/ 619 h 734"/>
                  <a:gd name="T34" fmla="*/ 0 w 1140"/>
                  <a:gd name="T35" fmla="*/ 601 h 734"/>
                  <a:gd name="T36" fmla="*/ 0 w 1140"/>
                  <a:gd name="T37" fmla="*/ 61 h 734"/>
                  <a:gd name="T38" fmla="*/ 61 w 1140"/>
                  <a:gd name="T39" fmla="*/ 0 h 734"/>
                  <a:gd name="T40" fmla="*/ 1079 w 1140"/>
                  <a:gd name="T41" fmla="*/ 0 h 734"/>
                  <a:gd name="T42" fmla="*/ 1140 w 1140"/>
                  <a:gd name="T43" fmla="*/ 60 h 734"/>
                  <a:gd name="T44" fmla="*/ 1140 w 1140"/>
                  <a:gd name="T45" fmla="*/ 602 h 734"/>
                  <a:gd name="T46" fmla="*/ 1079 w 1140"/>
                  <a:gd name="T47" fmla="*/ 663 h 734"/>
                  <a:gd name="T48" fmla="*/ 1041 w 1140"/>
                  <a:gd name="T49" fmla="*/ 678 h 734"/>
                  <a:gd name="T50" fmla="*/ 885 w 1140"/>
                  <a:gd name="T51" fmla="*/ 708 h 734"/>
                  <a:gd name="T52" fmla="*/ 804 w 1140"/>
                  <a:gd name="T53" fmla="*/ 575 h 734"/>
                  <a:gd name="T54" fmla="*/ 894 w 1140"/>
                  <a:gd name="T55" fmla="*/ 452 h 734"/>
                  <a:gd name="T56" fmla="*/ 1031 w 1140"/>
                  <a:gd name="T57" fmla="*/ 477 h 734"/>
                  <a:gd name="T58" fmla="*/ 1078 w 1140"/>
                  <a:gd name="T59" fmla="*/ 610 h 734"/>
                  <a:gd name="T60" fmla="*/ 1075 w 1140"/>
                  <a:gd name="T61" fmla="*/ 625 h 734"/>
                  <a:gd name="T62" fmla="*/ 944 w 1140"/>
                  <a:gd name="T63" fmla="*/ 479 h 734"/>
                  <a:gd name="T64" fmla="*/ 839 w 1140"/>
                  <a:gd name="T65" fmla="*/ 577 h 734"/>
                  <a:gd name="T66" fmla="*/ 939 w 1140"/>
                  <a:gd name="T67" fmla="*/ 686 h 734"/>
                  <a:gd name="T68" fmla="*/ 1047 w 1140"/>
                  <a:gd name="T69" fmla="*/ 584 h 734"/>
                  <a:gd name="T70" fmla="*/ 944 w 1140"/>
                  <a:gd name="T71" fmla="*/ 479 h 734"/>
                  <a:gd name="T72" fmla="*/ 123 w 1140"/>
                  <a:gd name="T73" fmla="*/ 581 h 734"/>
                  <a:gd name="T74" fmla="*/ 227 w 1140"/>
                  <a:gd name="T75" fmla="*/ 686 h 734"/>
                  <a:gd name="T76" fmla="*/ 331 w 1140"/>
                  <a:gd name="T77" fmla="*/ 582 h 734"/>
                  <a:gd name="T78" fmla="*/ 226 w 1140"/>
                  <a:gd name="T79" fmla="*/ 479 h 734"/>
                  <a:gd name="T80" fmla="*/ 123 w 1140"/>
                  <a:gd name="T81" fmla="*/ 581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40" h="734">
                    <a:moveTo>
                      <a:pt x="1075" y="625"/>
                    </a:moveTo>
                    <a:cubicBezTo>
                      <a:pt x="1104" y="630"/>
                      <a:pt x="1106" y="628"/>
                      <a:pt x="1106" y="601"/>
                    </a:cubicBezTo>
                    <a:cubicBezTo>
                      <a:pt x="1106" y="421"/>
                      <a:pt x="1106" y="241"/>
                      <a:pt x="1106" y="61"/>
                    </a:cubicBezTo>
                    <a:cubicBezTo>
                      <a:pt x="1106" y="34"/>
                      <a:pt x="1106" y="34"/>
                      <a:pt x="1080" y="34"/>
                    </a:cubicBezTo>
                    <a:cubicBezTo>
                      <a:pt x="740" y="34"/>
                      <a:pt x="401" y="34"/>
                      <a:pt x="62" y="34"/>
                    </a:cubicBezTo>
                    <a:cubicBezTo>
                      <a:pt x="35" y="34"/>
                      <a:pt x="35" y="34"/>
                      <a:pt x="35" y="61"/>
                    </a:cubicBezTo>
                    <a:cubicBezTo>
                      <a:pt x="35" y="241"/>
                      <a:pt x="35" y="421"/>
                      <a:pt x="35" y="601"/>
                    </a:cubicBezTo>
                    <a:cubicBezTo>
                      <a:pt x="35" y="628"/>
                      <a:pt x="35" y="628"/>
                      <a:pt x="61" y="628"/>
                    </a:cubicBezTo>
                    <a:cubicBezTo>
                      <a:pt x="72" y="628"/>
                      <a:pt x="82" y="628"/>
                      <a:pt x="90" y="628"/>
                    </a:cubicBezTo>
                    <a:cubicBezTo>
                      <a:pt x="90" y="605"/>
                      <a:pt x="87" y="583"/>
                      <a:pt x="90" y="562"/>
                    </a:cubicBezTo>
                    <a:cubicBezTo>
                      <a:pt x="100" y="495"/>
                      <a:pt x="154" y="448"/>
                      <a:pt x="222" y="444"/>
                    </a:cubicBezTo>
                    <a:cubicBezTo>
                      <a:pt x="281" y="441"/>
                      <a:pt x="341" y="483"/>
                      <a:pt x="359" y="541"/>
                    </a:cubicBezTo>
                    <a:cubicBezTo>
                      <a:pt x="378" y="604"/>
                      <a:pt x="352" y="670"/>
                      <a:pt x="295" y="703"/>
                    </a:cubicBezTo>
                    <a:cubicBezTo>
                      <a:pt x="239" y="734"/>
                      <a:pt x="168" y="724"/>
                      <a:pt x="125" y="676"/>
                    </a:cubicBezTo>
                    <a:cubicBezTo>
                      <a:pt x="116" y="666"/>
                      <a:pt x="108" y="662"/>
                      <a:pt x="96" y="663"/>
                    </a:cubicBezTo>
                    <a:cubicBezTo>
                      <a:pt x="80" y="664"/>
                      <a:pt x="64" y="663"/>
                      <a:pt x="48" y="663"/>
                    </a:cubicBezTo>
                    <a:cubicBezTo>
                      <a:pt x="20" y="662"/>
                      <a:pt x="3" y="646"/>
                      <a:pt x="1" y="619"/>
                    </a:cubicBezTo>
                    <a:cubicBezTo>
                      <a:pt x="0" y="613"/>
                      <a:pt x="0" y="607"/>
                      <a:pt x="0" y="601"/>
                    </a:cubicBezTo>
                    <a:cubicBezTo>
                      <a:pt x="0" y="421"/>
                      <a:pt x="0" y="241"/>
                      <a:pt x="0" y="61"/>
                    </a:cubicBezTo>
                    <a:cubicBezTo>
                      <a:pt x="0" y="15"/>
                      <a:pt x="15" y="0"/>
                      <a:pt x="61" y="0"/>
                    </a:cubicBezTo>
                    <a:cubicBezTo>
                      <a:pt x="400" y="0"/>
                      <a:pt x="740" y="0"/>
                      <a:pt x="1079" y="0"/>
                    </a:cubicBezTo>
                    <a:cubicBezTo>
                      <a:pt x="1125" y="0"/>
                      <a:pt x="1140" y="14"/>
                      <a:pt x="1140" y="60"/>
                    </a:cubicBezTo>
                    <a:cubicBezTo>
                      <a:pt x="1140" y="241"/>
                      <a:pt x="1140" y="422"/>
                      <a:pt x="1140" y="602"/>
                    </a:cubicBezTo>
                    <a:cubicBezTo>
                      <a:pt x="1140" y="649"/>
                      <a:pt x="1126" y="664"/>
                      <a:pt x="1079" y="663"/>
                    </a:cubicBezTo>
                    <a:cubicBezTo>
                      <a:pt x="1063" y="662"/>
                      <a:pt x="1053" y="666"/>
                      <a:pt x="1041" y="678"/>
                    </a:cubicBezTo>
                    <a:cubicBezTo>
                      <a:pt x="1001" y="722"/>
                      <a:pt x="941" y="732"/>
                      <a:pt x="885" y="708"/>
                    </a:cubicBezTo>
                    <a:cubicBezTo>
                      <a:pt x="834" y="686"/>
                      <a:pt x="802" y="633"/>
                      <a:pt x="804" y="575"/>
                    </a:cubicBezTo>
                    <a:cubicBezTo>
                      <a:pt x="805" y="522"/>
                      <a:pt x="843" y="469"/>
                      <a:pt x="894" y="452"/>
                    </a:cubicBezTo>
                    <a:cubicBezTo>
                      <a:pt x="944" y="436"/>
                      <a:pt x="991" y="443"/>
                      <a:pt x="1031" y="477"/>
                    </a:cubicBezTo>
                    <a:cubicBezTo>
                      <a:pt x="1072" y="512"/>
                      <a:pt x="1086" y="558"/>
                      <a:pt x="1078" y="610"/>
                    </a:cubicBezTo>
                    <a:cubicBezTo>
                      <a:pt x="1077" y="615"/>
                      <a:pt x="1076" y="620"/>
                      <a:pt x="1075" y="625"/>
                    </a:cubicBezTo>
                    <a:close/>
                    <a:moveTo>
                      <a:pt x="944" y="479"/>
                    </a:moveTo>
                    <a:cubicBezTo>
                      <a:pt x="887" y="478"/>
                      <a:pt x="840" y="522"/>
                      <a:pt x="839" y="577"/>
                    </a:cubicBezTo>
                    <a:cubicBezTo>
                      <a:pt x="837" y="637"/>
                      <a:pt x="882" y="685"/>
                      <a:pt x="939" y="686"/>
                    </a:cubicBezTo>
                    <a:cubicBezTo>
                      <a:pt x="996" y="687"/>
                      <a:pt x="1046" y="640"/>
                      <a:pt x="1047" y="584"/>
                    </a:cubicBezTo>
                    <a:cubicBezTo>
                      <a:pt x="1047" y="527"/>
                      <a:pt x="1001" y="479"/>
                      <a:pt x="944" y="479"/>
                    </a:cubicBezTo>
                    <a:close/>
                    <a:moveTo>
                      <a:pt x="123" y="581"/>
                    </a:moveTo>
                    <a:cubicBezTo>
                      <a:pt x="124" y="640"/>
                      <a:pt x="169" y="686"/>
                      <a:pt x="227" y="686"/>
                    </a:cubicBezTo>
                    <a:cubicBezTo>
                      <a:pt x="283" y="686"/>
                      <a:pt x="332" y="638"/>
                      <a:pt x="331" y="582"/>
                    </a:cubicBezTo>
                    <a:cubicBezTo>
                      <a:pt x="330" y="524"/>
                      <a:pt x="283" y="478"/>
                      <a:pt x="226" y="479"/>
                    </a:cubicBezTo>
                    <a:cubicBezTo>
                      <a:pt x="169" y="479"/>
                      <a:pt x="122" y="526"/>
                      <a:pt x="123" y="5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76" name="Freeform 207"/>
              <p:cNvSpPr>
                <a:spLocks noEditPoints="1"/>
              </p:cNvSpPr>
              <p:nvPr/>
            </p:nvSpPr>
            <p:spPr bwMode="auto">
              <a:xfrm>
                <a:off x="8972551" y="3971924"/>
                <a:ext cx="660401" cy="255589"/>
              </a:xfrm>
              <a:custGeom>
                <a:avLst/>
                <a:gdLst>
                  <a:gd name="T0" fmla="*/ 1003 w 1003"/>
                  <a:gd name="T1" fmla="*/ 0 h 390"/>
                  <a:gd name="T2" fmla="*/ 1003 w 1003"/>
                  <a:gd name="T3" fmla="*/ 375 h 390"/>
                  <a:gd name="T4" fmla="*/ 969 w 1003"/>
                  <a:gd name="T5" fmla="*/ 375 h 390"/>
                  <a:gd name="T6" fmla="*/ 969 w 1003"/>
                  <a:gd name="T7" fmla="*/ 123 h 390"/>
                  <a:gd name="T8" fmla="*/ 35 w 1003"/>
                  <a:gd name="T9" fmla="*/ 123 h 390"/>
                  <a:gd name="T10" fmla="*/ 35 w 1003"/>
                  <a:gd name="T11" fmla="*/ 390 h 390"/>
                  <a:gd name="T12" fmla="*/ 0 w 1003"/>
                  <a:gd name="T13" fmla="*/ 390 h 390"/>
                  <a:gd name="T14" fmla="*/ 0 w 1003"/>
                  <a:gd name="T15" fmla="*/ 0 h 390"/>
                  <a:gd name="T16" fmla="*/ 1003 w 1003"/>
                  <a:gd name="T17" fmla="*/ 0 h 390"/>
                  <a:gd name="T18" fmla="*/ 35 w 1003"/>
                  <a:gd name="T19" fmla="*/ 85 h 390"/>
                  <a:gd name="T20" fmla="*/ 968 w 1003"/>
                  <a:gd name="T21" fmla="*/ 85 h 390"/>
                  <a:gd name="T22" fmla="*/ 968 w 1003"/>
                  <a:gd name="T23" fmla="*/ 35 h 390"/>
                  <a:gd name="T24" fmla="*/ 35 w 1003"/>
                  <a:gd name="T25" fmla="*/ 35 h 390"/>
                  <a:gd name="T26" fmla="*/ 35 w 1003"/>
                  <a:gd name="T27" fmla="*/ 8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03" h="390">
                    <a:moveTo>
                      <a:pt x="1003" y="0"/>
                    </a:moveTo>
                    <a:cubicBezTo>
                      <a:pt x="1003" y="125"/>
                      <a:pt x="1003" y="249"/>
                      <a:pt x="1003" y="375"/>
                    </a:cubicBezTo>
                    <a:cubicBezTo>
                      <a:pt x="992" y="375"/>
                      <a:pt x="982" y="375"/>
                      <a:pt x="969" y="375"/>
                    </a:cubicBezTo>
                    <a:cubicBezTo>
                      <a:pt x="969" y="291"/>
                      <a:pt x="969" y="207"/>
                      <a:pt x="969" y="123"/>
                    </a:cubicBezTo>
                    <a:cubicBezTo>
                      <a:pt x="657" y="123"/>
                      <a:pt x="347" y="123"/>
                      <a:pt x="35" y="123"/>
                    </a:cubicBezTo>
                    <a:cubicBezTo>
                      <a:pt x="35" y="211"/>
                      <a:pt x="35" y="300"/>
                      <a:pt x="35" y="390"/>
                    </a:cubicBezTo>
                    <a:cubicBezTo>
                      <a:pt x="22" y="390"/>
                      <a:pt x="12" y="390"/>
                      <a:pt x="0" y="390"/>
                    </a:cubicBezTo>
                    <a:cubicBezTo>
                      <a:pt x="0" y="261"/>
                      <a:pt x="0" y="131"/>
                      <a:pt x="0" y="0"/>
                    </a:cubicBezTo>
                    <a:cubicBezTo>
                      <a:pt x="334" y="0"/>
                      <a:pt x="667" y="0"/>
                      <a:pt x="1003" y="0"/>
                    </a:cubicBezTo>
                    <a:close/>
                    <a:moveTo>
                      <a:pt x="35" y="85"/>
                    </a:moveTo>
                    <a:cubicBezTo>
                      <a:pt x="346" y="85"/>
                      <a:pt x="656" y="85"/>
                      <a:pt x="968" y="85"/>
                    </a:cubicBezTo>
                    <a:cubicBezTo>
                      <a:pt x="968" y="68"/>
                      <a:pt x="968" y="52"/>
                      <a:pt x="968" y="35"/>
                    </a:cubicBezTo>
                    <a:cubicBezTo>
                      <a:pt x="656" y="35"/>
                      <a:pt x="346" y="35"/>
                      <a:pt x="35" y="35"/>
                    </a:cubicBezTo>
                    <a:cubicBezTo>
                      <a:pt x="35" y="52"/>
                      <a:pt x="35" y="68"/>
                      <a:pt x="35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77" name="Freeform 208"/>
              <p:cNvSpPr>
                <a:spLocks noEditPoints="1"/>
              </p:cNvSpPr>
              <p:nvPr/>
            </p:nvSpPr>
            <p:spPr bwMode="auto">
              <a:xfrm>
                <a:off x="9201149" y="4083051"/>
                <a:ext cx="231776" cy="230188"/>
              </a:xfrm>
              <a:custGeom>
                <a:avLst/>
                <a:gdLst>
                  <a:gd name="T0" fmla="*/ 178 w 352"/>
                  <a:gd name="T1" fmla="*/ 351 h 351"/>
                  <a:gd name="T2" fmla="*/ 1 w 352"/>
                  <a:gd name="T3" fmla="*/ 174 h 351"/>
                  <a:gd name="T4" fmla="*/ 176 w 352"/>
                  <a:gd name="T5" fmla="*/ 0 h 351"/>
                  <a:gd name="T6" fmla="*/ 352 w 352"/>
                  <a:gd name="T7" fmla="*/ 177 h 351"/>
                  <a:gd name="T8" fmla="*/ 178 w 352"/>
                  <a:gd name="T9" fmla="*/ 351 h 351"/>
                  <a:gd name="T10" fmla="*/ 36 w 352"/>
                  <a:gd name="T11" fmla="*/ 174 h 351"/>
                  <a:gd name="T12" fmla="*/ 178 w 352"/>
                  <a:gd name="T13" fmla="*/ 317 h 351"/>
                  <a:gd name="T14" fmla="*/ 318 w 352"/>
                  <a:gd name="T15" fmla="*/ 176 h 351"/>
                  <a:gd name="T16" fmla="*/ 176 w 352"/>
                  <a:gd name="T17" fmla="*/ 34 h 351"/>
                  <a:gd name="T18" fmla="*/ 36 w 352"/>
                  <a:gd name="T19" fmla="*/ 174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2" h="351">
                    <a:moveTo>
                      <a:pt x="178" y="351"/>
                    </a:moveTo>
                    <a:cubicBezTo>
                      <a:pt x="81" y="351"/>
                      <a:pt x="2" y="273"/>
                      <a:pt x="1" y="174"/>
                    </a:cubicBezTo>
                    <a:cubicBezTo>
                      <a:pt x="0" y="80"/>
                      <a:pt x="80" y="1"/>
                      <a:pt x="176" y="0"/>
                    </a:cubicBezTo>
                    <a:cubicBezTo>
                      <a:pt x="274" y="0"/>
                      <a:pt x="352" y="78"/>
                      <a:pt x="352" y="177"/>
                    </a:cubicBezTo>
                    <a:cubicBezTo>
                      <a:pt x="352" y="271"/>
                      <a:pt x="273" y="350"/>
                      <a:pt x="178" y="351"/>
                    </a:cubicBezTo>
                    <a:close/>
                    <a:moveTo>
                      <a:pt x="36" y="174"/>
                    </a:moveTo>
                    <a:cubicBezTo>
                      <a:pt x="36" y="254"/>
                      <a:pt x="100" y="318"/>
                      <a:pt x="178" y="317"/>
                    </a:cubicBezTo>
                    <a:cubicBezTo>
                      <a:pt x="253" y="316"/>
                      <a:pt x="318" y="251"/>
                      <a:pt x="318" y="176"/>
                    </a:cubicBezTo>
                    <a:cubicBezTo>
                      <a:pt x="318" y="97"/>
                      <a:pt x="254" y="33"/>
                      <a:pt x="176" y="34"/>
                    </a:cubicBezTo>
                    <a:cubicBezTo>
                      <a:pt x="98" y="35"/>
                      <a:pt x="35" y="98"/>
                      <a:pt x="36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78" name="Freeform 209"/>
              <p:cNvSpPr>
                <a:spLocks/>
              </p:cNvSpPr>
              <p:nvPr/>
            </p:nvSpPr>
            <p:spPr bwMode="auto">
              <a:xfrm>
                <a:off x="9015413" y="4075113"/>
                <a:ext cx="177800" cy="109538"/>
              </a:xfrm>
              <a:custGeom>
                <a:avLst/>
                <a:gdLst>
                  <a:gd name="T0" fmla="*/ 0 w 269"/>
                  <a:gd name="T1" fmla="*/ 0 h 166"/>
                  <a:gd name="T2" fmla="*/ 269 w 269"/>
                  <a:gd name="T3" fmla="*/ 0 h 166"/>
                  <a:gd name="T4" fmla="*/ 269 w 269"/>
                  <a:gd name="T5" fmla="*/ 34 h 166"/>
                  <a:gd name="T6" fmla="*/ 35 w 269"/>
                  <a:gd name="T7" fmla="*/ 34 h 166"/>
                  <a:gd name="T8" fmla="*/ 35 w 269"/>
                  <a:gd name="T9" fmla="*/ 131 h 166"/>
                  <a:gd name="T10" fmla="*/ 239 w 269"/>
                  <a:gd name="T11" fmla="*/ 131 h 166"/>
                  <a:gd name="T12" fmla="*/ 239 w 269"/>
                  <a:gd name="T13" fmla="*/ 166 h 166"/>
                  <a:gd name="T14" fmla="*/ 0 w 269"/>
                  <a:gd name="T15" fmla="*/ 166 h 166"/>
                  <a:gd name="T16" fmla="*/ 0 w 269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9" h="166">
                    <a:moveTo>
                      <a:pt x="0" y="0"/>
                    </a:moveTo>
                    <a:cubicBezTo>
                      <a:pt x="90" y="0"/>
                      <a:pt x="179" y="0"/>
                      <a:pt x="269" y="0"/>
                    </a:cubicBezTo>
                    <a:cubicBezTo>
                      <a:pt x="269" y="11"/>
                      <a:pt x="269" y="21"/>
                      <a:pt x="269" y="34"/>
                    </a:cubicBezTo>
                    <a:cubicBezTo>
                      <a:pt x="191" y="34"/>
                      <a:pt x="113" y="34"/>
                      <a:pt x="35" y="34"/>
                    </a:cubicBezTo>
                    <a:cubicBezTo>
                      <a:pt x="35" y="67"/>
                      <a:pt x="35" y="98"/>
                      <a:pt x="35" y="131"/>
                    </a:cubicBezTo>
                    <a:cubicBezTo>
                      <a:pt x="102" y="131"/>
                      <a:pt x="170" y="131"/>
                      <a:pt x="239" y="131"/>
                    </a:cubicBezTo>
                    <a:cubicBezTo>
                      <a:pt x="239" y="144"/>
                      <a:pt x="239" y="154"/>
                      <a:pt x="239" y="166"/>
                    </a:cubicBezTo>
                    <a:cubicBezTo>
                      <a:pt x="159" y="166"/>
                      <a:pt x="81" y="166"/>
                      <a:pt x="0" y="166"/>
                    </a:cubicBezTo>
                    <a:cubicBezTo>
                      <a:pt x="0" y="111"/>
                      <a:pt x="0" y="5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79" name="Freeform 210"/>
              <p:cNvSpPr>
                <a:spLocks/>
              </p:cNvSpPr>
              <p:nvPr/>
            </p:nvSpPr>
            <p:spPr bwMode="auto">
              <a:xfrm>
                <a:off x="9432925" y="4076701"/>
                <a:ext cx="157162" cy="107950"/>
              </a:xfrm>
              <a:custGeom>
                <a:avLst/>
                <a:gdLst>
                  <a:gd name="T0" fmla="*/ 43 w 238"/>
                  <a:gd name="T1" fmla="*/ 165 h 165"/>
                  <a:gd name="T2" fmla="*/ 43 w 238"/>
                  <a:gd name="T3" fmla="*/ 131 h 165"/>
                  <a:gd name="T4" fmla="*/ 203 w 238"/>
                  <a:gd name="T5" fmla="*/ 131 h 165"/>
                  <a:gd name="T6" fmla="*/ 203 w 238"/>
                  <a:gd name="T7" fmla="*/ 33 h 165"/>
                  <a:gd name="T8" fmla="*/ 0 w 238"/>
                  <a:gd name="T9" fmla="*/ 33 h 165"/>
                  <a:gd name="T10" fmla="*/ 0 w 238"/>
                  <a:gd name="T11" fmla="*/ 0 h 165"/>
                  <a:gd name="T12" fmla="*/ 238 w 238"/>
                  <a:gd name="T13" fmla="*/ 0 h 165"/>
                  <a:gd name="T14" fmla="*/ 238 w 238"/>
                  <a:gd name="T15" fmla="*/ 165 h 165"/>
                  <a:gd name="T16" fmla="*/ 43 w 238"/>
                  <a:gd name="T17" fmla="*/ 16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165">
                    <a:moveTo>
                      <a:pt x="43" y="165"/>
                    </a:moveTo>
                    <a:cubicBezTo>
                      <a:pt x="43" y="154"/>
                      <a:pt x="43" y="144"/>
                      <a:pt x="43" y="131"/>
                    </a:cubicBezTo>
                    <a:cubicBezTo>
                      <a:pt x="96" y="131"/>
                      <a:pt x="149" y="131"/>
                      <a:pt x="203" y="131"/>
                    </a:cubicBezTo>
                    <a:cubicBezTo>
                      <a:pt x="203" y="98"/>
                      <a:pt x="203" y="67"/>
                      <a:pt x="203" y="33"/>
                    </a:cubicBezTo>
                    <a:cubicBezTo>
                      <a:pt x="135" y="33"/>
                      <a:pt x="68" y="33"/>
                      <a:pt x="0" y="33"/>
                    </a:cubicBezTo>
                    <a:cubicBezTo>
                      <a:pt x="0" y="21"/>
                      <a:pt x="0" y="11"/>
                      <a:pt x="0" y="0"/>
                    </a:cubicBezTo>
                    <a:cubicBezTo>
                      <a:pt x="79" y="0"/>
                      <a:pt x="158" y="0"/>
                      <a:pt x="238" y="0"/>
                    </a:cubicBezTo>
                    <a:cubicBezTo>
                      <a:pt x="238" y="55"/>
                      <a:pt x="238" y="109"/>
                      <a:pt x="238" y="165"/>
                    </a:cubicBezTo>
                    <a:cubicBezTo>
                      <a:pt x="173" y="165"/>
                      <a:pt x="109" y="165"/>
                      <a:pt x="43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80" name="Freeform 211"/>
              <p:cNvSpPr>
                <a:spLocks/>
              </p:cNvSpPr>
              <p:nvPr/>
            </p:nvSpPr>
            <p:spPr bwMode="auto">
              <a:xfrm>
                <a:off x="9088438" y="3998913"/>
                <a:ext cx="19050" cy="20638"/>
              </a:xfrm>
              <a:custGeom>
                <a:avLst/>
                <a:gdLst>
                  <a:gd name="T0" fmla="*/ 30 w 30"/>
                  <a:gd name="T1" fmla="*/ 0 h 32"/>
                  <a:gd name="T2" fmla="*/ 30 w 30"/>
                  <a:gd name="T3" fmla="*/ 32 h 32"/>
                  <a:gd name="T4" fmla="*/ 0 w 30"/>
                  <a:gd name="T5" fmla="*/ 32 h 32"/>
                  <a:gd name="T6" fmla="*/ 0 w 30"/>
                  <a:gd name="T7" fmla="*/ 0 h 32"/>
                  <a:gd name="T8" fmla="*/ 30 w 30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2">
                    <a:moveTo>
                      <a:pt x="30" y="0"/>
                    </a:moveTo>
                    <a:cubicBezTo>
                      <a:pt x="30" y="13"/>
                      <a:pt x="30" y="22"/>
                      <a:pt x="30" y="32"/>
                    </a:cubicBezTo>
                    <a:cubicBezTo>
                      <a:pt x="20" y="32"/>
                      <a:pt x="10" y="32"/>
                      <a:pt x="0" y="32"/>
                    </a:cubicBezTo>
                    <a:cubicBezTo>
                      <a:pt x="0" y="21"/>
                      <a:pt x="0" y="12"/>
                      <a:pt x="0" y="0"/>
                    </a:cubicBezTo>
                    <a:cubicBezTo>
                      <a:pt x="10" y="0"/>
                      <a:pt x="20" y="0"/>
                      <a:pt x="3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81" name="Freeform 212"/>
              <p:cNvSpPr>
                <a:spLocks/>
              </p:cNvSpPr>
              <p:nvPr/>
            </p:nvSpPr>
            <p:spPr bwMode="auto">
              <a:xfrm>
                <a:off x="9015413" y="3998913"/>
                <a:ext cx="19050" cy="20638"/>
              </a:xfrm>
              <a:custGeom>
                <a:avLst/>
                <a:gdLst>
                  <a:gd name="T0" fmla="*/ 0 w 29"/>
                  <a:gd name="T1" fmla="*/ 0 h 32"/>
                  <a:gd name="T2" fmla="*/ 29 w 29"/>
                  <a:gd name="T3" fmla="*/ 0 h 32"/>
                  <a:gd name="T4" fmla="*/ 29 w 29"/>
                  <a:gd name="T5" fmla="*/ 32 h 32"/>
                  <a:gd name="T6" fmla="*/ 0 w 29"/>
                  <a:gd name="T7" fmla="*/ 32 h 32"/>
                  <a:gd name="T8" fmla="*/ 0 w 29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32">
                    <a:moveTo>
                      <a:pt x="0" y="0"/>
                    </a:moveTo>
                    <a:cubicBezTo>
                      <a:pt x="11" y="0"/>
                      <a:pt x="19" y="0"/>
                      <a:pt x="29" y="0"/>
                    </a:cubicBezTo>
                    <a:cubicBezTo>
                      <a:pt x="29" y="11"/>
                      <a:pt x="29" y="21"/>
                      <a:pt x="29" y="32"/>
                    </a:cubicBezTo>
                    <a:cubicBezTo>
                      <a:pt x="20" y="32"/>
                      <a:pt x="11" y="32"/>
                      <a:pt x="0" y="32"/>
                    </a:cubicBezTo>
                    <a:cubicBezTo>
                      <a:pt x="0" y="22"/>
                      <a:pt x="0" y="1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Freeform 213"/>
              <p:cNvSpPr>
                <a:spLocks/>
              </p:cNvSpPr>
              <p:nvPr/>
            </p:nvSpPr>
            <p:spPr bwMode="auto">
              <a:xfrm>
                <a:off x="9051925" y="3998913"/>
                <a:ext cx="19050" cy="20638"/>
              </a:xfrm>
              <a:custGeom>
                <a:avLst/>
                <a:gdLst>
                  <a:gd name="T0" fmla="*/ 29 w 29"/>
                  <a:gd name="T1" fmla="*/ 32 h 32"/>
                  <a:gd name="T2" fmla="*/ 0 w 29"/>
                  <a:gd name="T3" fmla="*/ 32 h 32"/>
                  <a:gd name="T4" fmla="*/ 0 w 29"/>
                  <a:gd name="T5" fmla="*/ 0 h 32"/>
                  <a:gd name="T6" fmla="*/ 29 w 29"/>
                  <a:gd name="T7" fmla="*/ 0 h 32"/>
                  <a:gd name="T8" fmla="*/ 29 w 29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32">
                    <a:moveTo>
                      <a:pt x="29" y="32"/>
                    </a:moveTo>
                    <a:cubicBezTo>
                      <a:pt x="19" y="32"/>
                      <a:pt x="10" y="32"/>
                      <a:pt x="0" y="32"/>
                    </a:cubicBezTo>
                    <a:cubicBezTo>
                      <a:pt x="0" y="21"/>
                      <a:pt x="0" y="11"/>
                      <a:pt x="0" y="0"/>
                    </a:cubicBezTo>
                    <a:cubicBezTo>
                      <a:pt x="10" y="0"/>
                      <a:pt x="19" y="0"/>
                      <a:pt x="29" y="0"/>
                    </a:cubicBezTo>
                    <a:cubicBezTo>
                      <a:pt x="29" y="10"/>
                      <a:pt x="29" y="20"/>
                      <a:pt x="2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83" name="Freeform 214"/>
              <p:cNvSpPr>
                <a:spLocks/>
              </p:cNvSpPr>
              <p:nvPr/>
            </p:nvSpPr>
            <p:spPr bwMode="auto">
              <a:xfrm>
                <a:off x="9569450" y="3998913"/>
                <a:ext cx="19050" cy="20638"/>
              </a:xfrm>
              <a:custGeom>
                <a:avLst/>
                <a:gdLst>
                  <a:gd name="T0" fmla="*/ 30 w 30"/>
                  <a:gd name="T1" fmla="*/ 0 h 32"/>
                  <a:gd name="T2" fmla="*/ 30 w 30"/>
                  <a:gd name="T3" fmla="*/ 32 h 32"/>
                  <a:gd name="T4" fmla="*/ 0 w 30"/>
                  <a:gd name="T5" fmla="*/ 32 h 32"/>
                  <a:gd name="T6" fmla="*/ 0 w 30"/>
                  <a:gd name="T7" fmla="*/ 0 h 32"/>
                  <a:gd name="T8" fmla="*/ 30 w 30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2">
                    <a:moveTo>
                      <a:pt x="30" y="0"/>
                    </a:moveTo>
                    <a:cubicBezTo>
                      <a:pt x="30" y="11"/>
                      <a:pt x="30" y="21"/>
                      <a:pt x="30" y="32"/>
                    </a:cubicBezTo>
                    <a:cubicBezTo>
                      <a:pt x="20" y="32"/>
                      <a:pt x="10" y="32"/>
                      <a:pt x="0" y="32"/>
                    </a:cubicBezTo>
                    <a:cubicBezTo>
                      <a:pt x="0" y="21"/>
                      <a:pt x="0" y="11"/>
                      <a:pt x="0" y="0"/>
                    </a:cubicBezTo>
                    <a:cubicBezTo>
                      <a:pt x="9" y="0"/>
                      <a:pt x="18" y="0"/>
                      <a:pt x="3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84" name="Group 83"/>
          <p:cNvGrpSpPr/>
          <p:nvPr/>
        </p:nvGrpSpPr>
        <p:grpSpPr>
          <a:xfrm>
            <a:off x="6604021" y="3372290"/>
            <a:ext cx="686209" cy="666708"/>
            <a:chOff x="7043771" y="3449138"/>
            <a:chExt cx="686209" cy="666708"/>
          </a:xfrm>
        </p:grpSpPr>
        <p:sp>
          <p:nvSpPr>
            <p:cNvPr id="85" name="Freeform 820"/>
            <p:cNvSpPr>
              <a:spLocks/>
            </p:cNvSpPr>
            <p:nvPr/>
          </p:nvSpPr>
          <p:spPr bwMode="auto">
            <a:xfrm>
              <a:off x="7043771" y="3449138"/>
              <a:ext cx="686209" cy="666708"/>
            </a:xfrm>
            <a:custGeom>
              <a:avLst/>
              <a:gdLst>
                <a:gd name="T0" fmla="*/ 391 w 420"/>
                <a:gd name="T1" fmla="*/ 262 h 420"/>
                <a:gd name="T2" fmla="*/ 158 w 420"/>
                <a:gd name="T3" fmla="*/ 391 h 420"/>
                <a:gd name="T4" fmla="*/ 29 w 420"/>
                <a:gd name="T5" fmla="*/ 158 h 420"/>
                <a:gd name="T6" fmla="*/ 262 w 420"/>
                <a:gd name="T7" fmla="*/ 29 h 420"/>
                <a:gd name="T8" fmla="*/ 391 w 420"/>
                <a:gd name="T9" fmla="*/ 26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420">
                  <a:moveTo>
                    <a:pt x="391" y="262"/>
                  </a:moveTo>
                  <a:cubicBezTo>
                    <a:pt x="362" y="362"/>
                    <a:pt x="258" y="420"/>
                    <a:pt x="158" y="391"/>
                  </a:cubicBezTo>
                  <a:cubicBezTo>
                    <a:pt x="58" y="362"/>
                    <a:pt x="0" y="258"/>
                    <a:pt x="29" y="158"/>
                  </a:cubicBezTo>
                  <a:cubicBezTo>
                    <a:pt x="58" y="58"/>
                    <a:pt x="162" y="0"/>
                    <a:pt x="262" y="29"/>
                  </a:cubicBezTo>
                  <a:cubicBezTo>
                    <a:pt x="362" y="58"/>
                    <a:pt x="420" y="162"/>
                    <a:pt x="391" y="262"/>
                  </a:cubicBezTo>
                  <a:close/>
                </a:path>
              </a:pathLst>
            </a:custGeom>
            <a:solidFill>
              <a:srgbClr val="008A69"/>
            </a:solidFill>
            <a:ln w="25400">
              <a:solidFill>
                <a:srgbClr val="FFFFFF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86" name="Freeform 5"/>
            <p:cNvSpPr>
              <a:spLocks noEditPoints="1"/>
            </p:cNvSpPr>
            <p:nvPr/>
          </p:nvSpPr>
          <p:spPr bwMode="auto">
            <a:xfrm>
              <a:off x="7206925" y="3590938"/>
              <a:ext cx="388597" cy="388597"/>
            </a:xfrm>
            <a:custGeom>
              <a:avLst/>
              <a:gdLst>
                <a:gd name="T0" fmla="*/ 286 w 1273"/>
                <a:gd name="T1" fmla="*/ 1118 h 1275"/>
                <a:gd name="T2" fmla="*/ 318 w 1273"/>
                <a:gd name="T3" fmla="*/ 1090 h 1275"/>
                <a:gd name="T4" fmla="*/ 319 w 1273"/>
                <a:gd name="T5" fmla="*/ 963 h 1275"/>
                <a:gd name="T6" fmla="*/ 187 w 1273"/>
                <a:gd name="T7" fmla="*/ 951 h 1275"/>
                <a:gd name="T8" fmla="*/ 152 w 1273"/>
                <a:gd name="T9" fmla="*/ 984 h 1275"/>
                <a:gd name="T10" fmla="*/ 0 w 1273"/>
                <a:gd name="T11" fmla="*/ 831 h 1275"/>
                <a:gd name="T12" fmla="*/ 830 w 1273"/>
                <a:gd name="T13" fmla="*/ 0 h 1275"/>
                <a:gd name="T14" fmla="*/ 987 w 1273"/>
                <a:gd name="T15" fmla="*/ 155 h 1275"/>
                <a:gd name="T16" fmla="*/ 956 w 1273"/>
                <a:gd name="T17" fmla="*/ 182 h 1275"/>
                <a:gd name="T18" fmla="*/ 958 w 1273"/>
                <a:gd name="T19" fmla="*/ 317 h 1275"/>
                <a:gd name="T20" fmla="*/ 1090 w 1273"/>
                <a:gd name="T21" fmla="*/ 319 h 1275"/>
                <a:gd name="T22" fmla="*/ 1118 w 1273"/>
                <a:gd name="T23" fmla="*/ 286 h 1275"/>
                <a:gd name="T24" fmla="*/ 1273 w 1273"/>
                <a:gd name="T25" fmla="*/ 443 h 1275"/>
                <a:gd name="T26" fmla="*/ 442 w 1273"/>
                <a:gd name="T27" fmla="*/ 1275 h 1275"/>
                <a:gd name="T28" fmla="*/ 286 w 1273"/>
                <a:gd name="T29" fmla="*/ 1118 h 1275"/>
                <a:gd name="T30" fmla="*/ 112 w 1273"/>
                <a:gd name="T31" fmla="*/ 836 h 1275"/>
                <a:gd name="T32" fmla="*/ 137 w 1273"/>
                <a:gd name="T33" fmla="*/ 859 h 1275"/>
                <a:gd name="T34" fmla="*/ 172 w 1273"/>
                <a:gd name="T35" fmla="*/ 865 h 1275"/>
                <a:gd name="T36" fmla="*/ 369 w 1273"/>
                <a:gd name="T37" fmla="*/ 897 h 1275"/>
                <a:gd name="T38" fmla="*/ 414 w 1273"/>
                <a:gd name="T39" fmla="*/ 1081 h 1275"/>
                <a:gd name="T40" fmla="*/ 435 w 1273"/>
                <a:gd name="T41" fmla="*/ 1156 h 1275"/>
                <a:gd name="T42" fmla="*/ 439 w 1273"/>
                <a:gd name="T43" fmla="*/ 1159 h 1275"/>
                <a:gd name="T44" fmla="*/ 941 w 1273"/>
                <a:gd name="T45" fmla="*/ 656 h 1275"/>
                <a:gd name="T46" fmla="*/ 618 w 1273"/>
                <a:gd name="T47" fmla="*/ 330 h 1275"/>
                <a:gd name="T48" fmla="*/ 112 w 1273"/>
                <a:gd name="T49" fmla="*/ 836 h 1275"/>
                <a:gd name="T50" fmla="*/ 1120 w 1273"/>
                <a:gd name="T51" fmla="*/ 400 h 1275"/>
                <a:gd name="T52" fmla="*/ 1107 w 1273"/>
                <a:gd name="T53" fmla="*/ 406 h 1275"/>
                <a:gd name="T54" fmla="*/ 909 w 1273"/>
                <a:gd name="T55" fmla="*/ 383 h 1275"/>
                <a:gd name="T56" fmla="*/ 857 w 1273"/>
                <a:gd name="T57" fmla="*/ 193 h 1275"/>
                <a:gd name="T58" fmla="*/ 835 w 1273"/>
                <a:gd name="T59" fmla="*/ 117 h 1275"/>
                <a:gd name="T60" fmla="*/ 831 w 1273"/>
                <a:gd name="T61" fmla="*/ 114 h 1275"/>
                <a:gd name="T62" fmla="*/ 680 w 1273"/>
                <a:gd name="T63" fmla="*/ 267 h 1275"/>
                <a:gd name="T64" fmla="*/ 1005 w 1273"/>
                <a:gd name="T65" fmla="*/ 592 h 1275"/>
                <a:gd name="T66" fmla="*/ 1158 w 1273"/>
                <a:gd name="T67" fmla="*/ 441 h 1275"/>
                <a:gd name="T68" fmla="*/ 1120 w 1273"/>
                <a:gd name="T69" fmla="*/ 400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73" h="1275">
                  <a:moveTo>
                    <a:pt x="286" y="1118"/>
                  </a:moveTo>
                  <a:cubicBezTo>
                    <a:pt x="296" y="1109"/>
                    <a:pt x="308" y="1101"/>
                    <a:pt x="318" y="1090"/>
                  </a:cubicBezTo>
                  <a:cubicBezTo>
                    <a:pt x="351" y="1053"/>
                    <a:pt x="351" y="998"/>
                    <a:pt x="319" y="963"/>
                  </a:cubicBezTo>
                  <a:cubicBezTo>
                    <a:pt x="284" y="924"/>
                    <a:pt x="228" y="919"/>
                    <a:pt x="187" y="951"/>
                  </a:cubicBezTo>
                  <a:cubicBezTo>
                    <a:pt x="174" y="961"/>
                    <a:pt x="163" y="973"/>
                    <a:pt x="152" y="984"/>
                  </a:cubicBezTo>
                  <a:cubicBezTo>
                    <a:pt x="101" y="932"/>
                    <a:pt x="50" y="881"/>
                    <a:pt x="0" y="831"/>
                  </a:cubicBezTo>
                  <a:cubicBezTo>
                    <a:pt x="276" y="555"/>
                    <a:pt x="554" y="277"/>
                    <a:pt x="830" y="0"/>
                  </a:cubicBezTo>
                  <a:cubicBezTo>
                    <a:pt x="881" y="50"/>
                    <a:pt x="932" y="101"/>
                    <a:pt x="987" y="155"/>
                  </a:cubicBezTo>
                  <a:cubicBezTo>
                    <a:pt x="977" y="164"/>
                    <a:pt x="965" y="172"/>
                    <a:pt x="956" y="182"/>
                  </a:cubicBezTo>
                  <a:cubicBezTo>
                    <a:pt x="919" y="221"/>
                    <a:pt x="920" y="278"/>
                    <a:pt x="958" y="317"/>
                  </a:cubicBezTo>
                  <a:cubicBezTo>
                    <a:pt x="993" y="352"/>
                    <a:pt x="1051" y="354"/>
                    <a:pt x="1090" y="319"/>
                  </a:cubicBezTo>
                  <a:cubicBezTo>
                    <a:pt x="1101" y="309"/>
                    <a:pt x="1109" y="297"/>
                    <a:pt x="1118" y="286"/>
                  </a:cubicBezTo>
                  <a:cubicBezTo>
                    <a:pt x="1172" y="341"/>
                    <a:pt x="1223" y="393"/>
                    <a:pt x="1273" y="443"/>
                  </a:cubicBezTo>
                  <a:cubicBezTo>
                    <a:pt x="997" y="719"/>
                    <a:pt x="719" y="998"/>
                    <a:pt x="442" y="1275"/>
                  </a:cubicBezTo>
                  <a:cubicBezTo>
                    <a:pt x="392" y="1224"/>
                    <a:pt x="341" y="1173"/>
                    <a:pt x="286" y="1118"/>
                  </a:cubicBezTo>
                  <a:close/>
                  <a:moveTo>
                    <a:pt x="112" y="836"/>
                  </a:moveTo>
                  <a:cubicBezTo>
                    <a:pt x="119" y="843"/>
                    <a:pt x="129" y="850"/>
                    <a:pt x="137" y="859"/>
                  </a:cubicBezTo>
                  <a:cubicBezTo>
                    <a:pt x="148" y="871"/>
                    <a:pt x="157" y="872"/>
                    <a:pt x="172" y="865"/>
                  </a:cubicBezTo>
                  <a:cubicBezTo>
                    <a:pt x="244" y="835"/>
                    <a:pt x="311" y="843"/>
                    <a:pt x="369" y="897"/>
                  </a:cubicBezTo>
                  <a:cubicBezTo>
                    <a:pt x="423" y="947"/>
                    <a:pt x="440" y="1012"/>
                    <a:pt x="414" y="1081"/>
                  </a:cubicBezTo>
                  <a:cubicBezTo>
                    <a:pt x="400" y="1117"/>
                    <a:pt x="408" y="1136"/>
                    <a:pt x="435" y="1156"/>
                  </a:cubicBezTo>
                  <a:cubicBezTo>
                    <a:pt x="437" y="1157"/>
                    <a:pt x="439" y="1159"/>
                    <a:pt x="439" y="1159"/>
                  </a:cubicBezTo>
                  <a:cubicBezTo>
                    <a:pt x="608" y="990"/>
                    <a:pt x="776" y="822"/>
                    <a:pt x="941" y="656"/>
                  </a:cubicBezTo>
                  <a:cubicBezTo>
                    <a:pt x="834" y="548"/>
                    <a:pt x="726" y="438"/>
                    <a:pt x="618" y="330"/>
                  </a:cubicBezTo>
                  <a:cubicBezTo>
                    <a:pt x="450" y="498"/>
                    <a:pt x="283" y="666"/>
                    <a:pt x="112" y="836"/>
                  </a:cubicBezTo>
                  <a:close/>
                  <a:moveTo>
                    <a:pt x="1120" y="400"/>
                  </a:moveTo>
                  <a:cubicBezTo>
                    <a:pt x="1114" y="403"/>
                    <a:pt x="1110" y="404"/>
                    <a:pt x="1107" y="406"/>
                  </a:cubicBezTo>
                  <a:cubicBezTo>
                    <a:pt x="1042" y="440"/>
                    <a:pt x="964" y="431"/>
                    <a:pt x="909" y="383"/>
                  </a:cubicBezTo>
                  <a:cubicBezTo>
                    <a:pt x="854" y="336"/>
                    <a:pt x="829" y="260"/>
                    <a:pt x="857" y="193"/>
                  </a:cubicBezTo>
                  <a:cubicBezTo>
                    <a:pt x="873" y="156"/>
                    <a:pt x="862" y="137"/>
                    <a:pt x="835" y="117"/>
                  </a:cubicBezTo>
                  <a:cubicBezTo>
                    <a:pt x="834" y="116"/>
                    <a:pt x="832" y="115"/>
                    <a:pt x="831" y="114"/>
                  </a:cubicBezTo>
                  <a:cubicBezTo>
                    <a:pt x="780" y="166"/>
                    <a:pt x="729" y="217"/>
                    <a:pt x="680" y="267"/>
                  </a:cubicBezTo>
                  <a:cubicBezTo>
                    <a:pt x="788" y="376"/>
                    <a:pt x="898" y="485"/>
                    <a:pt x="1005" y="592"/>
                  </a:cubicBezTo>
                  <a:cubicBezTo>
                    <a:pt x="1055" y="542"/>
                    <a:pt x="1107" y="491"/>
                    <a:pt x="1158" y="441"/>
                  </a:cubicBezTo>
                  <a:cubicBezTo>
                    <a:pt x="1146" y="428"/>
                    <a:pt x="1133" y="415"/>
                    <a:pt x="1120" y="4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7074796" y="4139107"/>
            <a:ext cx="686209" cy="666708"/>
            <a:chOff x="5293399" y="2773271"/>
            <a:chExt cx="488293" cy="474417"/>
          </a:xfrm>
        </p:grpSpPr>
        <p:sp>
          <p:nvSpPr>
            <p:cNvPr id="88" name="Freeform 820"/>
            <p:cNvSpPr>
              <a:spLocks/>
            </p:cNvSpPr>
            <p:nvPr/>
          </p:nvSpPr>
          <p:spPr bwMode="auto">
            <a:xfrm>
              <a:off x="5293399" y="2773271"/>
              <a:ext cx="488293" cy="474417"/>
            </a:xfrm>
            <a:custGeom>
              <a:avLst/>
              <a:gdLst>
                <a:gd name="T0" fmla="*/ 391 w 420"/>
                <a:gd name="T1" fmla="*/ 262 h 420"/>
                <a:gd name="T2" fmla="*/ 158 w 420"/>
                <a:gd name="T3" fmla="*/ 391 h 420"/>
                <a:gd name="T4" fmla="*/ 29 w 420"/>
                <a:gd name="T5" fmla="*/ 158 h 420"/>
                <a:gd name="T6" fmla="*/ 262 w 420"/>
                <a:gd name="T7" fmla="*/ 29 h 420"/>
                <a:gd name="T8" fmla="*/ 391 w 420"/>
                <a:gd name="T9" fmla="*/ 26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420">
                  <a:moveTo>
                    <a:pt x="391" y="262"/>
                  </a:moveTo>
                  <a:cubicBezTo>
                    <a:pt x="362" y="362"/>
                    <a:pt x="258" y="420"/>
                    <a:pt x="158" y="391"/>
                  </a:cubicBezTo>
                  <a:cubicBezTo>
                    <a:pt x="58" y="362"/>
                    <a:pt x="0" y="258"/>
                    <a:pt x="29" y="158"/>
                  </a:cubicBezTo>
                  <a:cubicBezTo>
                    <a:pt x="58" y="58"/>
                    <a:pt x="162" y="0"/>
                    <a:pt x="262" y="29"/>
                  </a:cubicBezTo>
                  <a:cubicBezTo>
                    <a:pt x="362" y="58"/>
                    <a:pt x="420" y="162"/>
                    <a:pt x="391" y="262"/>
                  </a:cubicBezTo>
                  <a:close/>
                </a:path>
              </a:pathLst>
            </a:custGeom>
            <a:solidFill>
              <a:srgbClr val="009E4F"/>
            </a:solidFill>
            <a:ln w="25400">
              <a:solidFill>
                <a:srgbClr val="FFFFFF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89" name="Group 88"/>
            <p:cNvGrpSpPr/>
            <p:nvPr/>
          </p:nvGrpSpPr>
          <p:grpSpPr>
            <a:xfrm>
              <a:off x="5420440" y="2892400"/>
              <a:ext cx="251041" cy="250746"/>
              <a:chOff x="6170620" y="5067073"/>
              <a:chExt cx="1163455" cy="1162092"/>
            </a:xfrm>
            <a:solidFill>
              <a:schemeClr val="bg1"/>
            </a:solidFill>
          </p:grpSpPr>
          <p:sp>
            <p:nvSpPr>
              <p:cNvPr id="90" name="Freeform 327"/>
              <p:cNvSpPr>
                <a:spLocks noEditPoints="1"/>
              </p:cNvSpPr>
              <p:nvPr/>
            </p:nvSpPr>
            <p:spPr bwMode="auto">
              <a:xfrm>
                <a:off x="6170620" y="5067073"/>
                <a:ext cx="1163455" cy="1162092"/>
              </a:xfrm>
              <a:custGeom>
                <a:avLst/>
                <a:gdLst>
                  <a:gd name="T0" fmla="*/ 335 w 1266"/>
                  <a:gd name="T1" fmla="*/ 1016 h 1266"/>
                  <a:gd name="T2" fmla="*/ 385 w 1266"/>
                  <a:gd name="T3" fmla="*/ 965 h 1266"/>
                  <a:gd name="T4" fmla="*/ 325 w 1266"/>
                  <a:gd name="T5" fmla="*/ 771 h 1266"/>
                  <a:gd name="T6" fmla="*/ 154 w 1266"/>
                  <a:gd name="T7" fmla="*/ 691 h 1266"/>
                  <a:gd name="T8" fmla="*/ 325 w 1266"/>
                  <a:gd name="T9" fmla="*/ 661 h 1266"/>
                  <a:gd name="T10" fmla="*/ 42 w 1266"/>
                  <a:gd name="T11" fmla="*/ 581 h 1266"/>
                  <a:gd name="T12" fmla="*/ 343 w 1266"/>
                  <a:gd name="T13" fmla="*/ 550 h 1266"/>
                  <a:gd name="T14" fmla="*/ 154 w 1266"/>
                  <a:gd name="T15" fmla="*/ 470 h 1266"/>
                  <a:gd name="T16" fmla="*/ 261 w 1266"/>
                  <a:gd name="T17" fmla="*/ 428 h 1266"/>
                  <a:gd name="T18" fmla="*/ 341 w 1266"/>
                  <a:gd name="T19" fmla="*/ 262 h 1266"/>
                  <a:gd name="T20" fmla="*/ 495 w 1266"/>
                  <a:gd name="T21" fmla="*/ 324 h 1266"/>
                  <a:gd name="T22" fmla="*/ 575 w 1266"/>
                  <a:gd name="T23" fmla="*/ 154 h 1266"/>
                  <a:gd name="T24" fmla="*/ 605 w 1266"/>
                  <a:gd name="T25" fmla="*/ 322 h 1266"/>
                  <a:gd name="T26" fmla="*/ 626 w 1266"/>
                  <a:gd name="T27" fmla="*/ 0 h 1266"/>
                  <a:gd name="T28" fmla="*/ 649 w 1266"/>
                  <a:gd name="T29" fmla="*/ 321 h 1266"/>
                  <a:gd name="T30" fmla="*/ 734 w 1266"/>
                  <a:gd name="T31" fmla="*/ 110 h 1266"/>
                  <a:gd name="T32" fmla="*/ 758 w 1266"/>
                  <a:gd name="T33" fmla="*/ 321 h 1266"/>
                  <a:gd name="T34" fmla="*/ 1024 w 1266"/>
                  <a:gd name="T35" fmla="*/ 207 h 1266"/>
                  <a:gd name="T36" fmla="*/ 921 w 1266"/>
                  <a:gd name="T37" fmla="*/ 324 h 1266"/>
                  <a:gd name="T38" fmla="*/ 1156 w 1266"/>
                  <a:gd name="T39" fmla="*/ 515 h 1266"/>
                  <a:gd name="T40" fmla="*/ 923 w 1266"/>
                  <a:gd name="T41" fmla="*/ 603 h 1266"/>
                  <a:gd name="T42" fmla="*/ 1266 w 1266"/>
                  <a:gd name="T43" fmla="*/ 624 h 1266"/>
                  <a:gd name="T44" fmla="*/ 923 w 1266"/>
                  <a:gd name="T45" fmla="*/ 646 h 1266"/>
                  <a:gd name="T46" fmla="*/ 1156 w 1266"/>
                  <a:gd name="T47" fmla="*/ 735 h 1266"/>
                  <a:gd name="T48" fmla="*/ 923 w 1266"/>
                  <a:gd name="T49" fmla="*/ 757 h 1266"/>
                  <a:gd name="T50" fmla="*/ 1070 w 1266"/>
                  <a:gd name="T51" fmla="*/ 1001 h 1266"/>
                  <a:gd name="T52" fmla="*/ 923 w 1266"/>
                  <a:gd name="T53" fmla="*/ 881 h 1266"/>
                  <a:gd name="T54" fmla="*/ 809 w 1266"/>
                  <a:gd name="T55" fmla="*/ 1114 h 1266"/>
                  <a:gd name="T56" fmla="*/ 729 w 1266"/>
                  <a:gd name="T57" fmla="*/ 902 h 1266"/>
                  <a:gd name="T58" fmla="*/ 699 w 1266"/>
                  <a:gd name="T59" fmla="*/ 1223 h 1266"/>
                  <a:gd name="T60" fmla="*/ 619 w 1266"/>
                  <a:gd name="T61" fmla="*/ 903 h 1266"/>
                  <a:gd name="T62" fmla="*/ 589 w 1266"/>
                  <a:gd name="T63" fmla="*/ 1112 h 1266"/>
                  <a:gd name="T64" fmla="*/ 509 w 1266"/>
                  <a:gd name="T65" fmla="*/ 902 h 1266"/>
                  <a:gd name="T66" fmla="*/ 386 w 1266"/>
                  <a:gd name="T67" fmla="*/ 859 h 1266"/>
                  <a:gd name="T68" fmla="*/ 625 w 1266"/>
                  <a:gd name="T69" fmla="*/ 81 h 1266"/>
                  <a:gd name="T70" fmla="*/ 497 w 1266"/>
                  <a:gd name="T71" fmla="*/ 173 h 1266"/>
                  <a:gd name="T72" fmla="*/ 735 w 1266"/>
                  <a:gd name="T73" fmla="*/ 191 h 1266"/>
                  <a:gd name="T74" fmla="*/ 1117 w 1266"/>
                  <a:gd name="T75" fmla="*/ 510 h 1266"/>
                  <a:gd name="T76" fmla="*/ 195 w 1266"/>
                  <a:gd name="T77" fmla="*/ 534 h 1266"/>
                  <a:gd name="T78" fmla="*/ 195 w 1266"/>
                  <a:gd name="T79" fmla="*/ 534 h 1266"/>
                  <a:gd name="T80" fmla="*/ 63 w 1266"/>
                  <a:gd name="T81" fmla="*/ 659 h 1266"/>
                  <a:gd name="T82" fmla="*/ 1075 w 1266"/>
                  <a:gd name="T83" fmla="*/ 737 h 1266"/>
                  <a:gd name="T84" fmla="*/ 172 w 1266"/>
                  <a:gd name="T85" fmla="*/ 731 h 1266"/>
                  <a:gd name="T86" fmla="*/ 553 w 1266"/>
                  <a:gd name="T87" fmla="*/ 1090 h 1266"/>
                  <a:gd name="T88" fmla="*/ 773 w 1266"/>
                  <a:gd name="T89" fmla="*/ 1100 h 1266"/>
                  <a:gd name="T90" fmla="*/ 773 w 1266"/>
                  <a:gd name="T91" fmla="*/ 1100 h 1266"/>
                  <a:gd name="T92" fmla="*/ 659 w 1266"/>
                  <a:gd name="T93" fmla="*/ 1203 h 1266"/>
                  <a:gd name="T94" fmla="*/ 1205 w 1266"/>
                  <a:gd name="T95" fmla="*/ 645 h 1266"/>
                  <a:gd name="T96" fmla="*/ 984 w 1266"/>
                  <a:gd name="T97" fmla="*/ 235 h 1266"/>
                  <a:gd name="T98" fmla="*/ 287 w 1266"/>
                  <a:gd name="T99" fmla="*/ 305 h 1266"/>
                  <a:gd name="T100" fmla="*/ 286 w 1266"/>
                  <a:gd name="T101" fmla="*/ 961 h 1266"/>
                  <a:gd name="T102" fmla="*/ 286 w 1266"/>
                  <a:gd name="T103" fmla="*/ 961 h 1266"/>
                  <a:gd name="T104" fmla="*/ 1012 w 1266"/>
                  <a:gd name="T105" fmla="*/ 1003 h 1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66" h="1266">
                    <a:moveTo>
                      <a:pt x="509" y="902"/>
                    </a:moveTo>
                    <a:cubicBezTo>
                      <a:pt x="481" y="902"/>
                      <a:pt x="455" y="902"/>
                      <a:pt x="427" y="902"/>
                    </a:cubicBezTo>
                    <a:cubicBezTo>
                      <a:pt x="427" y="936"/>
                      <a:pt x="427" y="970"/>
                      <a:pt x="427" y="1005"/>
                    </a:cubicBezTo>
                    <a:cubicBezTo>
                      <a:pt x="401" y="1005"/>
                      <a:pt x="378" y="1004"/>
                      <a:pt x="355" y="1005"/>
                    </a:cubicBezTo>
                    <a:cubicBezTo>
                      <a:pt x="348" y="1006"/>
                      <a:pt x="339" y="1010"/>
                      <a:pt x="335" y="1016"/>
                    </a:cubicBezTo>
                    <a:cubicBezTo>
                      <a:pt x="317" y="1040"/>
                      <a:pt x="290" y="1051"/>
                      <a:pt x="263" y="1043"/>
                    </a:cubicBezTo>
                    <a:cubicBezTo>
                      <a:pt x="237" y="1034"/>
                      <a:pt x="220" y="1012"/>
                      <a:pt x="220" y="984"/>
                    </a:cubicBezTo>
                    <a:cubicBezTo>
                      <a:pt x="220" y="957"/>
                      <a:pt x="237" y="933"/>
                      <a:pt x="262" y="925"/>
                    </a:cubicBezTo>
                    <a:cubicBezTo>
                      <a:pt x="290" y="917"/>
                      <a:pt x="318" y="926"/>
                      <a:pt x="333" y="951"/>
                    </a:cubicBezTo>
                    <a:cubicBezTo>
                      <a:pt x="347" y="973"/>
                      <a:pt x="366" y="958"/>
                      <a:pt x="385" y="965"/>
                    </a:cubicBezTo>
                    <a:cubicBezTo>
                      <a:pt x="385" y="952"/>
                      <a:pt x="385" y="942"/>
                      <a:pt x="385" y="933"/>
                    </a:cubicBezTo>
                    <a:cubicBezTo>
                      <a:pt x="385" y="923"/>
                      <a:pt x="385" y="913"/>
                      <a:pt x="385" y="901"/>
                    </a:cubicBezTo>
                    <a:cubicBezTo>
                      <a:pt x="371" y="901"/>
                      <a:pt x="359" y="901"/>
                      <a:pt x="344" y="901"/>
                    </a:cubicBezTo>
                    <a:cubicBezTo>
                      <a:pt x="344" y="863"/>
                      <a:pt x="344" y="826"/>
                      <a:pt x="345" y="790"/>
                    </a:cubicBezTo>
                    <a:cubicBezTo>
                      <a:pt x="345" y="775"/>
                      <a:pt x="340" y="770"/>
                      <a:pt x="325" y="771"/>
                    </a:cubicBezTo>
                    <a:cubicBezTo>
                      <a:pt x="299" y="772"/>
                      <a:pt x="272" y="770"/>
                      <a:pt x="245" y="772"/>
                    </a:cubicBezTo>
                    <a:cubicBezTo>
                      <a:pt x="238" y="772"/>
                      <a:pt x="229" y="778"/>
                      <a:pt x="224" y="784"/>
                    </a:cubicBezTo>
                    <a:cubicBezTo>
                      <a:pt x="206" y="807"/>
                      <a:pt x="178" y="817"/>
                      <a:pt x="152" y="809"/>
                    </a:cubicBezTo>
                    <a:cubicBezTo>
                      <a:pt x="127" y="800"/>
                      <a:pt x="109" y="775"/>
                      <a:pt x="110" y="749"/>
                    </a:cubicBezTo>
                    <a:cubicBezTo>
                      <a:pt x="110" y="722"/>
                      <a:pt x="128" y="698"/>
                      <a:pt x="154" y="691"/>
                    </a:cubicBezTo>
                    <a:cubicBezTo>
                      <a:pt x="180" y="683"/>
                      <a:pt x="208" y="693"/>
                      <a:pt x="223" y="717"/>
                    </a:cubicBezTo>
                    <a:cubicBezTo>
                      <a:pt x="229" y="727"/>
                      <a:pt x="235" y="729"/>
                      <a:pt x="245" y="729"/>
                    </a:cubicBezTo>
                    <a:cubicBezTo>
                      <a:pt x="277" y="729"/>
                      <a:pt x="309" y="729"/>
                      <a:pt x="343" y="729"/>
                    </a:cubicBezTo>
                    <a:cubicBezTo>
                      <a:pt x="343" y="707"/>
                      <a:pt x="343" y="685"/>
                      <a:pt x="343" y="662"/>
                    </a:cubicBezTo>
                    <a:cubicBezTo>
                      <a:pt x="337" y="662"/>
                      <a:pt x="331" y="661"/>
                      <a:pt x="325" y="661"/>
                    </a:cubicBezTo>
                    <a:cubicBezTo>
                      <a:pt x="263" y="661"/>
                      <a:pt x="200" y="661"/>
                      <a:pt x="137" y="661"/>
                    </a:cubicBezTo>
                    <a:cubicBezTo>
                      <a:pt x="126" y="661"/>
                      <a:pt x="118" y="663"/>
                      <a:pt x="112" y="674"/>
                    </a:cubicBezTo>
                    <a:cubicBezTo>
                      <a:pt x="98" y="697"/>
                      <a:pt x="69" y="707"/>
                      <a:pt x="44" y="699"/>
                    </a:cubicBezTo>
                    <a:cubicBezTo>
                      <a:pt x="17" y="691"/>
                      <a:pt x="1" y="669"/>
                      <a:pt x="0" y="641"/>
                    </a:cubicBezTo>
                    <a:cubicBezTo>
                      <a:pt x="0" y="613"/>
                      <a:pt x="16" y="590"/>
                      <a:pt x="42" y="581"/>
                    </a:cubicBezTo>
                    <a:cubicBezTo>
                      <a:pt x="67" y="573"/>
                      <a:pt x="96" y="581"/>
                      <a:pt x="111" y="604"/>
                    </a:cubicBezTo>
                    <a:cubicBezTo>
                      <a:pt x="119" y="617"/>
                      <a:pt x="127" y="619"/>
                      <a:pt x="141" y="619"/>
                    </a:cubicBezTo>
                    <a:cubicBezTo>
                      <a:pt x="201" y="619"/>
                      <a:pt x="261" y="619"/>
                      <a:pt x="321" y="619"/>
                    </a:cubicBezTo>
                    <a:cubicBezTo>
                      <a:pt x="328" y="619"/>
                      <a:pt x="334" y="619"/>
                      <a:pt x="343" y="619"/>
                    </a:cubicBezTo>
                    <a:cubicBezTo>
                      <a:pt x="343" y="596"/>
                      <a:pt x="343" y="574"/>
                      <a:pt x="343" y="550"/>
                    </a:cubicBezTo>
                    <a:cubicBezTo>
                      <a:pt x="307" y="550"/>
                      <a:pt x="271" y="550"/>
                      <a:pt x="236" y="550"/>
                    </a:cubicBezTo>
                    <a:cubicBezTo>
                      <a:pt x="232" y="550"/>
                      <a:pt x="228" y="556"/>
                      <a:pt x="225" y="560"/>
                    </a:cubicBezTo>
                    <a:cubicBezTo>
                      <a:pt x="208" y="586"/>
                      <a:pt x="181" y="597"/>
                      <a:pt x="153" y="589"/>
                    </a:cubicBezTo>
                    <a:cubicBezTo>
                      <a:pt x="128" y="581"/>
                      <a:pt x="110" y="557"/>
                      <a:pt x="110" y="530"/>
                    </a:cubicBezTo>
                    <a:cubicBezTo>
                      <a:pt x="110" y="502"/>
                      <a:pt x="128" y="478"/>
                      <a:pt x="154" y="470"/>
                    </a:cubicBezTo>
                    <a:cubicBezTo>
                      <a:pt x="181" y="463"/>
                      <a:pt x="208" y="474"/>
                      <a:pt x="225" y="499"/>
                    </a:cubicBezTo>
                    <a:cubicBezTo>
                      <a:pt x="228" y="503"/>
                      <a:pt x="235" y="508"/>
                      <a:pt x="240" y="509"/>
                    </a:cubicBezTo>
                    <a:cubicBezTo>
                      <a:pt x="274" y="509"/>
                      <a:pt x="307" y="509"/>
                      <a:pt x="343" y="509"/>
                    </a:cubicBezTo>
                    <a:cubicBezTo>
                      <a:pt x="343" y="482"/>
                      <a:pt x="343" y="457"/>
                      <a:pt x="343" y="428"/>
                    </a:cubicBezTo>
                    <a:cubicBezTo>
                      <a:pt x="316" y="428"/>
                      <a:pt x="289" y="428"/>
                      <a:pt x="261" y="428"/>
                    </a:cubicBezTo>
                    <a:cubicBezTo>
                      <a:pt x="261" y="402"/>
                      <a:pt x="262" y="378"/>
                      <a:pt x="261" y="355"/>
                    </a:cubicBezTo>
                    <a:cubicBezTo>
                      <a:pt x="260" y="348"/>
                      <a:pt x="256" y="339"/>
                      <a:pt x="250" y="335"/>
                    </a:cubicBezTo>
                    <a:cubicBezTo>
                      <a:pt x="226" y="317"/>
                      <a:pt x="215" y="290"/>
                      <a:pt x="223" y="264"/>
                    </a:cubicBezTo>
                    <a:cubicBezTo>
                      <a:pt x="231" y="237"/>
                      <a:pt x="254" y="221"/>
                      <a:pt x="281" y="220"/>
                    </a:cubicBezTo>
                    <a:cubicBezTo>
                      <a:pt x="309" y="220"/>
                      <a:pt x="333" y="237"/>
                      <a:pt x="341" y="262"/>
                    </a:cubicBezTo>
                    <a:cubicBezTo>
                      <a:pt x="350" y="290"/>
                      <a:pt x="340" y="316"/>
                      <a:pt x="315" y="334"/>
                    </a:cubicBezTo>
                    <a:cubicBezTo>
                      <a:pt x="301" y="343"/>
                      <a:pt x="300" y="352"/>
                      <a:pt x="306" y="384"/>
                    </a:cubicBezTo>
                    <a:cubicBezTo>
                      <a:pt x="318" y="384"/>
                      <a:pt x="330" y="384"/>
                      <a:pt x="344" y="384"/>
                    </a:cubicBezTo>
                    <a:cubicBezTo>
                      <a:pt x="344" y="364"/>
                      <a:pt x="344" y="345"/>
                      <a:pt x="344" y="324"/>
                    </a:cubicBezTo>
                    <a:cubicBezTo>
                      <a:pt x="394" y="324"/>
                      <a:pt x="443" y="324"/>
                      <a:pt x="495" y="324"/>
                    </a:cubicBezTo>
                    <a:cubicBezTo>
                      <a:pt x="495" y="293"/>
                      <a:pt x="495" y="264"/>
                      <a:pt x="494" y="235"/>
                    </a:cubicBezTo>
                    <a:cubicBezTo>
                      <a:pt x="494" y="231"/>
                      <a:pt x="488" y="227"/>
                      <a:pt x="484" y="224"/>
                    </a:cubicBezTo>
                    <a:cubicBezTo>
                      <a:pt x="458" y="206"/>
                      <a:pt x="448" y="179"/>
                      <a:pt x="458" y="151"/>
                    </a:cubicBezTo>
                    <a:cubicBezTo>
                      <a:pt x="465" y="127"/>
                      <a:pt x="490" y="110"/>
                      <a:pt x="516" y="110"/>
                    </a:cubicBezTo>
                    <a:cubicBezTo>
                      <a:pt x="543" y="110"/>
                      <a:pt x="568" y="128"/>
                      <a:pt x="575" y="154"/>
                    </a:cubicBezTo>
                    <a:cubicBezTo>
                      <a:pt x="583" y="182"/>
                      <a:pt x="573" y="207"/>
                      <a:pt x="547" y="225"/>
                    </a:cubicBezTo>
                    <a:cubicBezTo>
                      <a:pt x="543" y="228"/>
                      <a:pt x="540" y="232"/>
                      <a:pt x="537" y="236"/>
                    </a:cubicBezTo>
                    <a:cubicBezTo>
                      <a:pt x="536" y="238"/>
                      <a:pt x="537" y="242"/>
                      <a:pt x="537" y="246"/>
                    </a:cubicBezTo>
                    <a:cubicBezTo>
                      <a:pt x="537" y="271"/>
                      <a:pt x="537" y="296"/>
                      <a:pt x="537" y="322"/>
                    </a:cubicBezTo>
                    <a:cubicBezTo>
                      <a:pt x="560" y="322"/>
                      <a:pt x="581" y="322"/>
                      <a:pt x="605" y="322"/>
                    </a:cubicBezTo>
                    <a:cubicBezTo>
                      <a:pt x="605" y="296"/>
                      <a:pt x="605" y="270"/>
                      <a:pt x="605" y="244"/>
                    </a:cubicBezTo>
                    <a:cubicBezTo>
                      <a:pt x="605" y="208"/>
                      <a:pt x="605" y="172"/>
                      <a:pt x="605" y="136"/>
                    </a:cubicBezTo>
                    <a:cubicBezTo>
                      <a:pt x="605" y="126"/>
                      <a:pt x="604" y="120"/>
                      <a:pt x="594" y="114"/>
                    </a:cubicBezTo>
                    <a:cubicBezTo>
                      <a:pt x="569" y="99"/>
                      <a:pt x="559" y="71"/>
                      <a:pt x="567" y="44"/>
                    </a:cubicBezTo>
                    <a:cubicBezTo>
                      <a:pt x="574" y="18"/>
                      <a:pt x="598" y="0"/>
                      <a:pt x="626" y="0"/>
                    </a:cubicBezTo>
                    <a:cubicBezTo>
                      <a:pt x="654" y="0"/>
                      <a:pt x="677" y="17"/>
                      <a:pt x="685" y="43"/>
                    </a:cubicBezTo>
                    <a:cubicBezTo>
                      <a:pt x="693" y="70"/>
                      <a:pt x="684" y="96"/>
                      <a:pt x="660" y="113"/>
                    </a:cubicBezTo>
                    <a:cubicBezTo>
                      <a:pt x="654" y="118"/>
                      <a:pt x="648" y="126"/>
                      <a:pt x="648" y="132"/>
                    </a:cubicBezTo>
                    <a:cubicBezTo>
                      <a:pt x="647" y="192"/>
                      <a:pt x="647" y="252"/>
                      <a:pt x="647" y="312"/>
                    </a:cubicBezTo>
                    <a:cubicBezTo>
                      <a:pt x="647" y="315"/>
                      <a:pt x="648" y="318"/>
                      <a:pt x="649" y="321"/>
                    </a:cubicBezTo>
                    <a:cubicBezTo>
                      <a:pt x="671" y="321"/>
                      <a:pt x="692" y="321"/>
                      <a:pt x="716" y="321"/>
                    </a:cubicBezTo>
                    <a:cubicBezTo>
                      <a:pt x="716" y="293"/>
                      <a:pt x="717" y="265"/>
                      <a:pt x="716" y="237"/>
                    </a:cubicBezTo>
                    <a:cubicBezTo>
                      <a:pt x="716" y="233"/>
                      <a:pt x="710" y="228"/>
                      <a:pt x="705" y="225"/>
                    </a:cubicBezTo>
                    <a:cubicBezTo>
                      <a:pt x="679" y="208"/>
                      <a:pt x="669" y="181"/>
                      <a:pt x="677" y="153"/>
                    </a:cubicBezTo>
                    <a:cubicBezTo>
                      <a:pt x="685" y="129"/>
                      <a:pt x="709" y="110"/>
                      <a:pt x="734" y="110"/>
                    </a:cubicBezTo>
                    <a:cubicBezTo>
                      <a:pt x="762" y="109"/>
                      <a:pt x="787" y="126"/>
                      <a:pt x="795" y="153"/>
                    </a:cubicBezTo>
                    <a:cubicBezTo>
                      <a:pt x="804" y="179"/>
                      <a:pt x="793" y="206"/>
                      <a:pt x="769" y="224"/>
                    </a:cubicBezTo>
                    <a:cubicBezTo>
                      <a:pt x="763" y="228"/>
                      <a:pt x="758" y="237"/>
                      <a:pt x="758" y="244"/>
                    </a:cubicBezTo>
                    <a:cubicBezTo>
                      <a:pt x="756" y="267"/>
                      <a:pt x="757" y="291"/>
                      <a:pt x="757" y="314"/>
                    </a:cubicBezTo>
                    <a:cubicBezTo>
                      <a:pt x="757" y="316"/>
                      <a:pt x="758" y="318"/>
                      <a:pt x="758" y="321"/>
                    </a:cubicBezTo>
                    <a:cubicBezTo>
                      <a:pt x="784" y="321"/>
                      <a:pt x="810" y="321"/>
                      <a:pt x="839" y="321"/>
                    </a:cubicBezTo>
                    <a:cubicBezTo>
                      <a:pt x="839" y="292"/>
                      <a:pt x="839" y="264"/>
                      <a:pt x="839" y="234"/>
                    </a:cubicBezTo>
                    <a:cubicBezTo>
                      <a:pt x="863" y="234"/>
                      <a:pt x="885" y="233"/>
                      <a:pt x="907" y="234"/>
                    </a:cubicBezTo>
                    <a:cubicBezTo>
                      <a:pt x="919" y="234"/>
                      <a:pt x="927" y="231"/>
                      <a:pt x="934" y="220"/>
                    </a:cubicBezTo>
                    <a:cubicBezTo>
                      <a:pt x="953" y="189"/>
                      <a:pt x="996" y="184"/>
                      <a:pt x="1024" y="207"/>
                    </a:cubicBezTo>
                    <a:cubicBezTo>
                      <a:pt x="1051" y="229"/>
                      <a:pt x="1054" y="272"/>
                      <a:pt x="1029" y="297"/>
                    </a:cubicBezTo>
                    <a:cubicBezTo>
                      <a:pt x="1005" y="323"/>
                      <a:pt x="959" y="324"/>
                      <a:pt x="939" y="295"/>
                    </a:cubicBezTo>
                    <a:cubicBezTo>
                      <a:pt x="923" y="271"/>
                      <a:pt x="904" y="275"/>
                      <a:pt x="882" y="276"/>
                    </a:cubicBezTo>
                    <a:cubicBezTo>
                      <a:pt x="882" y="291"/>
                      <a:pt x="882" y="306"/>
                      <a:pt x="882" y="322"/>
                    </a:cubicBezTo>
                    <a:cubicBezTo>
                      <a:pt x="895" y="323"/>
                      <a:pt x="907" y="323"/>
                      <a:pt x="921" y="324"/>
                    </a:cubicBezTo>
                    <a:cubicBezTo>
                      <a:pt x="921" y="380"/>
                      <a:pt x="921" y="435"/>
                      <a:pt x="921" y="493"/>
                    </a:cubicBezTo>
                    <a:cubicBezTo>
                      <a:pt x="959" y="493"/>
                      <a:pt x="995" y="494"/>
                      <a:pt x="1032" y="493"/>
                    </a:cubicBezTo>
                    <a:cubicBezTo>
                      <a:pt x="1035" y="493"/>
                      <a:pt x="1039" y="486"/>
                      <a:pt x="1042" y="482"/>
                    </a:cubicBezTo>
                    <a:cubicBezTo>
                      <a:pt x="1058" y="458"/>
                      <a:pt x="1085" y="448"/>
                      <a:pt x="1111" y="455"/>
                    </a:cubicBezTo>
                    <a:cubicBezTo>
                      <a:pt x="1138" y="463"/>
                      <a:pt x="1156" y="487"/>
                      <a:pt x="1156" y="515"/>
                    </a:cubicBezTo>
                    <a:cubicBezTo>
                      <a:pt x="1157" y="541"/>
                      <a:pt x="1139" y="565"/>
                      <a:pt x="1113" y="573"/>
                    </a:cubicBezTo>
                    <a:cubicBezTo>
                      <a:pt x="1087" y="582"/>
                      <a:pt x="1059" y="573"/>
                      <a:pt x="1044" y="549"/>
                    </a:cubicBezTo>
                    <a:cubicBezTo>
                      <a:pt x="1037" y="538"/>
                      <a:pt x="1030" y="534"/>
                      <a:pt x="1018" y="535"/>
                    </a:cubicBezTo>
                    <a:cubicBezTo>
                      <a:pt x="987" y="536"/>
                      <a:pt x="956" y="535"/>
                      <a:pt x="923" y="535"/>
                    </a:cubicBezTo>
                    <a:cubicBezTo>
                      <a:pt x="923" y="559"/>
                      <a:pt x="923" y="580"/>
                      <a:pt x="923" y="603"/>
                    </a:cubicBezTo>
                    <a:cubicBezTo>
                      <a:pt x="929" y="604"/>
                      <a:pt x="934" y="604"/>
                      <a:pt x="939" y="604"/>
                    </a:cubicBezTo>
                    <a:cubicBezTo>
                      <a:pt x="1002" y="604"/>
                      <a:pt x="1066" y="604"/>
                      <a:pt x="1129" y="605"/>
                    </a:cubicBezTo>
                    <a:cubicBezTo>
                      <a:pt x="1140" y="605"/>
                      <a:pt x="1147" y="602"/>
                      <a:pt x="1153" y="592"/>
                    </a:cubicBezTo>
                    <a:cubicBezTo>
                      <a:pt x="1167" y="568"/>
                      <a:pt x="1196" y="558"/>
                      <a:pt x="1223" y="566"/>
                    </a:cubicBezTo>
                    <a:cubicBezTo>
                      <a:pt x="1248" y="573"/>
                      <a:pt x="1266" y="597"/>
                      <a:pt x="1266" y="624"/>
                    </a:cubicBezTo>
                    <a:cubicBezTo>
                      <a:pt x="1266" y="651"/>
                      <a:pt x="1249" y="675"/>
                      <a:pt x="1224" y="683"/>
                    </a:cubicBezTo>
                    <a:cubicBezTo>
                      <a:pt x="1198" y="692"/>
                      <a:pt x="1169" y="683"/>
                      <a:pt x="1154" y="659"/>
                    </a:cubicBezTo>
                    <a:cubicBezTo>
                      <a:pt x="1147" y="648"/>
                      <a:pt x="1140" y="645"/>
                      <a:pt x="1127" y="645"/>
                    </a:cubicBezTo>
                    <a:cubicBezTo>
                      <a:pt x="1066" y="645"/>
                      <a:pt x="1004" y="645"/>
                      <a:pt x="943" y="645"/>
                    </a:cubicBezTo>
                    <a:cubicBezTo>
                      <a:pt x="937" y="645"/>
                      <a:pt x="930" y="646"/>
                      <a:pt x="923" y="646"/>
                    </a:cubicBezTo>
                    <a:cubicBezTo>
                      <a:pt x="923" y="668"/>
                      <a:pt x="923" y="689"/>
                      <a:pt x="923" y="713"/>
                    </a:cubicBezTo>
                    <a:cubicBezTo>
                      <a:pt x="959" y="713"/>
                      <a:pt x="996" y="714"/>
                      <a:pt x="1032" y="713"/>
                    </a:cubicBezTo>
                    <a:cubicBezTo>
                      <a:pt x="1035" y="713"/>
                      <a:pt x="1039" y="706"/>
                      <a:pt x="1042" y="702"/>
                    </a:cubicBezTo>
                    <a:cubicBezTo>
                      <a:pt x="1058" y="679"/>
                      <a:pt x="1086" y="668"/>
                      <a:pt x="1112" y="676"/>
                    </a:cubicBezTo>
                    <a:cubicBezTo>
                      <a:pt x="1138" y="684"/>
                      <a:pt x="1156" y="708"/>
                      <a:pt x="1156" y="735"/>
                    </a:cubicBezTo>
                    <a:cubicBezTo>
                      <a:pt x="1156" y="762"/>
                      <a:pt x="1139" y="785"/>
                      <a:pt x="1113" y="793"/>
                    </a:cubicBezTo>
                    <a:cubicBezTo>
                      <a:pt x="1087" y="802"/>
                      <a:pt x="1058" y="793"/>
                      <a:pt x="1043" y="769"/>
                    </a:cubicBezTo>
                    <a:cubicBezTo>
                      <a:pt x="1037" y="758"/>
                      <a:pt x="1030" y="754"/>
                      <a:pt x="1018" y="755"/>
                    </a:cubicBezTo>
                    <a:cubicBezTo>
                      <a:pt x="988" y="756"/>
                      <a:pt x="959" y="755"/>
                      <a:pt x="930" y="755"/>
                    </a:cubicBezTo>
                    <a:cubicBezTo>
                      <a:pt x="928" y="755"/>
                      <a:pt x="926" y="757"/>
                      <a:pt x="923" y="757"/>
                    </a:cubicBezTo>
                    <a:cubicBezTo>
                      <a:pt x="923" y="784"/>
                      <a:pt x="923" y="810"/>
                      <a:pt x="923" y="839"/>
                    </a:cubicBezTo>
                    <a:cubicBezTo>
                      <a:pt x="959" y="839"/>
                      <a:pt x="995" y="839"/>
                      <a:pt x="1032" y="839"/>
                    </a:cubicBezTo>
                    <a:cubicBezTo>
                      <a:pt x="1032" y="865"/>
                      <a:pt x="1032" y="888"/>
                      <a:pt x="1033" y="911"/>
                    </a:cubicBezTo>
                    <a:cubicBezTo>
                      <a:pt x="1033" y="918"/>
                      <a:pt x="1038" y="926"/>
                      <a:pt x="1043" y="930"/>
                    </a:cubicBezTo>
                    <a:cubicBezTo>
                      <a:pt x="1068" y="948"/>
                      <a:pt x="1079" y="973"/>
                      <a:pt x="1070" y="1001"/>
                    </a:cubicBezTo>
                    <a:cubicBezTo>
                      <a:pt x="1062" y="1027"/>
                      <a:pt x="1038" y="1045"/>
                      <a:pt x="1011" y="1045"/>
                    </a:cubicBezTo>
                    <a:cubicBezTo>
                      <a:pt x="984" y="1045"/>
                      <a:pt x="960" y="1027"/>
                      <a:pt x="952" y="1001"/>
                    </a:cubicBezTo>
                    <a:cubicBezTo>
                      <a:pt x="944" y="974"/>
                      <a:pt x="954" y="946"/>
                      <a:pt x="980" y="930"/>
                    </a:cubicBezTo>
                    <a:cubicBezTo>
                      <a:pt x="1001" y="917"/>
                      <a:pt x="986" y="898"/>
                      <a:pt x="992" y="881"/>
                    </a:cubicBezTo>
                    <a:cubicBezTo>
                      <a:pt x="967" y="881"/>
                      <a:pt x="946" y="881"/>
                      <a:pt x="923" y="881"/>
                    </a:cubicBezTo>
                    <a:cubicBezTo>
                      <a:pt x="922" y="887"/>
                      <a:pt x="922" y="893"/>
                      <a:pt x="920" y="901"/>
                    </a:cubicBezTo>
                    <a:cubicBezTo>
                      <a:pt x="872" y="901"/>
                      <a:pt x="823" y="901"/>
                      <a:pt x="771" y="901"/>
                    </a:cubicBezTo>
                    <a:cubicBezTo>
                      <a:pt x="771" y="945"/>
                      <a:pt x="771" y="987"/>
                      <a:pt x="772" y="1030"/>
                    </a:cubicBezTo>
                    <a:cubicBezTo>
                      <a:pt x="772" y="1034"/>
                      <a:pt x="778" y="1039"/>
                      <a:pt x="783" y="1042"/>
                    </a:cubicBezTo>
                    <a:cubicBezTo>
                      <a:pt x="807" y="1060"/>
                      <a:pt x="817" y="1086"/>
                      <a:pt x="809" y="1114"/>
                    </a:cubicBezTo>
                    <a:cubicBezTo>
                      <a:pt x="801" y="1138"/>
                      <a:pt x="776" y="1156"/>
                      <a:pt x="750" y="1156"/>
                    </a:cubicBezTo>
                    <a:cubicBezTo>
                      <a:pt x="723" y="1156"/>
                      <a:pt x="699" y="1138"/>
                      <a:pt x="691" y="1113"/>
                    </a:cubicBezTo>
                    <a:cubicBezTo>
                      <a:pt x="683" y="1086"/>
                      <a:pt x="693" y="1059"/>
                      <a:pt x="718" y="1042"/>
                    </a:cubicBezTo>
                    <a:cubicBezTo>
                      <a:pt x="723" y="1038"/>
                      <a:pt x="728" y="1031"/>
                      <a:pt x="728" y="1026"/>
                    </a:cubicBezTo>
                    <a:cubicBezTo>
                      <a:pt x="729" y="985"/>
                      <a:pt x="729" y="945"/>
                      <a:pt x="729" y="902"/>
                    </a:cubicBezTo>
                    <a:cubicBezTo>
                      <a:pt x="707" y="902"/>
                      <a:pt x="685" y="902"/>
                      <a:pt x="661" y="902"/>
                    </a:cubicBezTo>
                    <a:cubicBezTo>
                      <a:pt x="661" y="918"/>
                      <a:pt x="661" y="934"/>
                      <a:pt x="661" y="950"/>
                    </a:cubicBezTo>
                    <a:cubicBezTo>
                      <a:pt x="661" y="1010"/>
                      <a:pt x="661" y="1071"/>
                      <a:pt x="661" y="1132"/>
                    </a:cubicBezTo>
                    <a:cubicBezTo>
                      <a:pt x="662" y="1138"/>
                      <a:pt x="667" y="1147"/>
                      <a:pt x="672" y="1151"/>
                    </a:cubicBezTo>
                    <a:cubicBezTo>
                      <a:pt x="697" y="1169"/>
                      <a:pt x="707" y="1196"/>
                      <a:pt x="699" y="1223"/>
                    </a:cubicBezTo>
                    <a:cubicBezTo>
                      <a:pt x="690" y="1249"/>
                      <a:pt x="668" y="1266"/>
                      <a:pt x="640" y="1266"/>
                    </a:cubicBezTo>
                    <a:cubicBezTo>
                      <a:pt x="613" y="1266"/>
                      <a:pt x="589" y="1249"/>
                      <a:pt x="581" y="1224"/>
                    </a:cubicBezTo>
                    <a:cubicBezTo>
                      <a:pt x="572" y="1196"/>
                      <a:pt x="582" y="1170"/>
                      <a:pt x="607" y="1152"/>
                    </a:cubicBezTo>
                    <a:cubicBezTo>
                      <a:pt x="612" y="1148"/>
                      <a:pt x="618" y="1141"/>
                      <a:pt x="618" y="1136"/>
                    </a:cubicBezTo>
                    <a:cubicBezTo>
                      <a:pt x="619" y="1059"/>
                      <a:pt x="619" y="981"/>
                      <a:pt x="619" y="903"/>
                    </a:cubicBezTo>
                    <a:cubicBezTo>
                      <a:pt x="596" y="903"/>
                      <a:pt x="574" y="903"/>
                      <a:pt x="550" y="903"/>
                    </a:cubicBezTo>
                    <a:cubicBezTo>
                      <a:pt x="550" y="932"/>
                      <a:pt x="550" y="961"/>
                      <a:pt x="550" y="991"/>
                    </a:cubicBezTo>
                    <a:cubicBezTo>
                      <a:pt x="550" y="1000"/>
                      <a:pt x="550" y="1010"/>
                      <a:pt x="550" y="1019"/>
                    </a:cubicBezTo>
                    <a:cubicBezTo>
                      <a:pt x="549" y="1030"/>
                      <a:pt x="552" y="1037"/>
                      <a:pt x="562" y="1043"/>
                    </a:cubicBezTo>
                    <a:cubicBezTo>
                      <a:pt x="587" y="1057"/>
                      <a:pt x="596" y="1085"/>
                      <a:pt x="589" y="1112"/>
                    </a:cubicBezTo>
                    <a:cubicBezTo>
                      <a:pt x="582" y="1136"/>
                      <a:pt x="560" y="1154"/>
                      <a:pt x="535" y="1156"/>
                    </a:cubicBezTo>
                    <a:cubicBezTo>
                      <a:pt x="509" y="1159"/>
                      <a:pt x="484" y="1143"/>
                      <a:pt x="473" y="1119"/>
                    </a:cubicBezTo>
                    <a:cubicBezTo>
                      <a:pt x="461" y="1091"/>
                      <a:pt x="471" y="1059"/>
                      <a:pt x="497" y="1041"/>
                    </a:cubicBezTo>
                    <a:cubicBezTo>
                      <a:pt x="502" y="1038"/>
                      <a:pt x="508" y="1031"/>
                      <a:pt x="508" y="1026"/>
                    </a:cubicBezTo>
                    <a:cubicBezTo>
                      <a:pt x="509" y="985"/>
                      <a:pt x="509" y="945"/>
                      <a:pt x="509" y="902"/>
                    </a:cubicBezTo>
                    <a:close/>
                    <a:moveTo>
                      <a:pt x="386" y="859"/>
                    </a:moveTo>
                    <a:cubicBezTo>
                      <a:pt x="552" y="859"/>
                      <a:pt x="716" y="859"/>
                      <a:pt x="880" y="859"/>
                    </a:cubicBezTo>
                    <a:cubicBezTo>
                      <a:pt x="880" y="694"/>
                      <a:pt x="880" y="530"/>
                      <a:pt x="880" y="366"/>
                    </a:cubicBezTo>
                    <a:cubicBezTo>
                      <a:pt x="714" y="366"/>
                      <a:pt x="550" y="366"/>
                      <a:pt x="386" y="366"/>
                    </a:cubicBezTo>
                    <a:cubicBezTo>
                      <a:pt x="386" y="531"/>
                      <a:pt x="386" y="694"/>
                      <a:pt x="386" y="859"/>
                    </a:cubicBezTo>
                    <a:close/>
                    <a:moveTo>
                      <a:pt x="649" y="68"/>
                    </a:moveTo>
                    <a:cubicBezTo>
                      <a:pt x="649" y="64"/>
                      <a:pt x="649" y="61"/>
                      <a:pt x="649" y="58"/>
                    </a:cubicBezTo>
                    <a:cubicBezTo>
                      <a:pt x="642" y="53"/>
                      <a:pt x="634" y="42"/>
                      <a:pt x="627" y="43"/>
                    </a:cubicBezTo>
                    <a:cubicBezTo>
                      <a:pt x="619" y="44"/>
                      <a:pt x="609" y="54"/>
                      <a:pt x="607" y="61"/>
                    </a:cubicBezTo>
                    <a:cubicBezTo>
                      <a:pt x="604" y="72"/>
                      <a:pt x="613" y="83"/>
                      <a:pt x="625" y="81"/>
                    </a:cubicBezTo>
                    <a:cubicBezTo>
                      <a:pt x="634" y="80"/>
                      <a:pt x="641" y="72"/>
                      <a:pt x="649" y="68"/>
                    </a:cubicBezTo>
                    <a:close/>
                    <a:moveTo>
                      <a:pt x="540" y="175"/>
                    </a:moveTo>
                    <a:cubicBezTo>
                      <a:pt x="540" y="172"/>
                      <a:pt x="539" y="169"/>
                      <a:pt x="539" y="167"/>
                    </a:cubicBezTo>
                    <a:cubicBezTo>
                      <a:pt x="531" y="162"/>
                      <a:pt x="524" y="154"/>
                      <a:pt x="515" y="153"/>
                    </a:cubicBezTo>
                    <a:cubicBezTo>
                      <a:pt x="503" y="151"/>
                      <a:pt x="494" y="161"/>
                      <a:pt x="497" y="173"/>
                    </a:cubicBezTo>
                    <a:cubicBezTo>
                      <a:pt x="499" y="181"/>
                      <a:pt x="510" y="191"/>
                      <a:pt x="517" y="191"/>
                    </a:cubicBezTo>
                    <a:cubicBezTo>
                      <a:pt x="524" y="191"/>
                      <a:pt x="532" y="181"/>
                      <a:pt x="540" y="175"/>
                    </a:cubicBezTo>
                    <a:close/>
                    <a:moveTo>
                      <a:pt x="713" y="166"/>
                    </a:moveTo>
                    <a:cubicBezTo>
                      <a:pt x="713" y="170"/>
                      <a:pt x="713" y="173"/>
                      <a:pt x="713" y="176"/>
                    </a:cubicBezTo>
                    <a:cubicBezTo>
                      <a:pt x="721" y="181"/>
                      <a:pt x="729" y="192"/>
                      <a:pt x="735" y="191"/>
                    </a:cubicBezTo>
                    <a:cubicBezTo>
                      <a:pt x="743" y="190"/>
                      <a:pt x="750" y="179"/>
                      <a:pt x="757" y="173"/>
                    </a:cubicBezTo>
                    <a:cubicBezTo>
                      <a:pt x="750" y="166"/>
                      <a:pt x="744" y="155"/>
                      <a:pt x="737" y="154"/>
                    </a:cubicBezTo>
                    <a:cubicBezTo>
                      <a:pt x="730" y="152"/>
                      <a:pt x="721" y="162"/>
                      <a:pt x="713" y="166"/>
                    </a:cubicBezTo>
                    <a:close/>
                    <a:moveTo>
                      <a:pt x="1117" y="520"/>
                    </a:moveTo>
                    <a:cubicBezTo>
                      <a:pt x="1117" y="517"/>
                      <a:pt x="1117" y="514"/>
                      <a:pt x="1117" y="510"/>
                    </a:cubicBezTo>
                    <a:cubicBezTo>
                      <a:pt x="1109" y="506"/>
                      <a:pt x="1100" y="496"/>
                      <a:pt x="1093" y="497"/>
                    </a:cubicBezTo>
                    <a:cubicBezTo>
                      <a:pt x="1086" y="499"/>
                      <a:pt x="1080" y="510"/>
                      <a:pt x="1074" y="517"/>
                    </a:cubicBezTo>
                    <a:cubicBezTo>
                      <a:pt x="1081" y="523"/>
                      <a:pt x="1087" y="534"/>
                      <a:pt x="1095" y="535"/>
                    </a:cubicBezTo>
                    <a:cubicBezTo>
                      <a:pt x="1102" y="536"/>
                      <a:pt x="1110" y="525"/>
                      <a:pt x="1117" y="520"/>
                    </a:cubicBezTo>
                    <a:close/>
                    <a:moveTo>
                      <a:pt x="195" y="534"/>
                    </a:moveTo>
                    <a:cubicBezTo>
                      <a:pt x="195" y="531"/>
                      <a:pt x="195" y="528"/>
                      <a:pt x="195" y="525"/>
                    </a:cubicBezTo>
                    <a:cubicBezTo>
                      <a:pt x="188" y="520"/>
                      <a:pt x="179" y="510"/>
                      <a:pt x="172" y="511"/>
                    </a:cubicBezTo>
                    <a:cubicBezTo>
                      <a:pt x="165" y="511"/>
                      <a:pt x="155" y="522"/>
                      <a:pt x="153" y="530"/>
                    </a:cubicBezTo>
                    <a:cubicBezTo>
                      <a:pt x="150" y="542"/>
                      <a:pt x="160" y="551"/>
                      <a:pt x="172" y="549"/>
                    </a:cubicBezTo>
                    <a:cubicBezTo>
                      <a:pt x="181" y="547"/>
                      <a:pt x="188" y="539"/>
                      <a:pt x="195" y="534"/>
                    </a:cubicBezTo>
                    <a:close/>
                    <a:moveTo>
                      <a:pt x="85" y="644"/>
                    </a:moveTo>
                    <a:cubicBezTo>
                      <a:pt x="85" y="640"/>
                      <a:pt x="85" y="637"/>
                      <a:pt x="85" y="634"/>
                    </a:cubicBezTo>
                    <a:cubicBezTo>
                      <a:pt x="77" y="629"/>
                      <a:pt x="68" y="620"/>
                      <a:pt x="61" y="621"/>
                    </a:cubicBezTo>
                    <a:cubicBezTo>
                      <a:pt x="54" y="623"/>
                      <a:pt x="48" y="634"/>
                      <a:pt x="42" y="641"/>
                    </a:cubicBezTo>
                    <a:cubicBezTo>
                      <a:pt x="49" y="647"/>
                      <a:pt x="55" y="658"/>
                      <a:pt x="63" y="659"/>
                    </a:cubicBezTo>
                    <a:cubicBezTo>
                      <a:pt x="70" y="660"/>
                      <a:pt x="78" y="649"/>
                      <a:pt x="85" y="644"/>
                    </a:cubicBezTo>
                    <a:close/>
                    <a:moveTo>
                      <a:pt x="1117" y="740"/>
                    </a:moveTo>
                    <a:cubicBezTo>
                      <a:pt x="1117" y="736"/>
                      <a:pt x="1117" y="733"/>
                      <a:pt x="1117" y="730"/>
                    </a:cubicBezTo>
                    <a:cubicBezTo>
                      <a:pt x="1109" y="726"/>
                      <a:pt x="1101" y="718"/>
                      <a:pt x="1093" y="717"/>
                    </a:cubicBezTo>
                    <a:cubicBezTo>
                      <a:pt x="1080" y="716"/>
                      <a:pt x="1072" y="726"/>
                      <a:pt x="1075" y="737"/>
                    </a:cubicBezTo>
                    <a:cubicBezTo>
                      <a:pt x="1077" y="745"/>
                      <a:pt x="1087" y="755"/>
                      <a:pt x="1095" y="755"/>
                    </a:cubicBezTo>
                    <a:cubicBezTo>
                      <a:pt x="1102" y="756"/>
                      <a:pt x="1110" y="745"/>
                      <a:pt x="1117" y="740"/>
                    </a:cubicBezTo>
                    <a:close/>
                    <a:moveTo>
                      <a:pt x="196" y="754"/>
                    </a:moveTo>
                    <a:cubicBezTo>
                      <a:pt x="195" y="751"/>
                      <a:pt x="195" y="748"/>
                      <a:pt x="195" y="745"/>
                    </a:cubicBezTo>
                    <a:cubicBezTo>
                      <a:pt x="187" y="740"/>
                      <a:pt x="179" y="730"/>
                      <a:pt x="172" y="731"/>
                    </a:cubicBezTo>
                    <a:cubicBezTo>
                      <a:pt x="164" y="732"/>
                      <a:pt x="155" y="743"/>
                      <a:pt x="153" y="751"/>
                    </a:cubicBezTo>
                    <a:cubicBezTo>
                      <a:pt x="151" y="763"/>
                      <a:pt x="160" y="772"/>
                      <a:pt x="173" y="769"/>
                    </a:cubicBezTo>
                    <a:cubicBezTo>
                      <a:pt x="181" y="767"/>
                      <a:pt x="188" y="759"/>
                      <a:pt x="196" y="754"/>
                    </a:cubicBezTo>
                    <a:close/>
                    <a:moveTo>
                      <a:pt x="553" y="1099"/>
                    </a:moveTo>
                    <a:cubicBezTo>
                      <a:pt x="553" y="1096"/>
                      <a:pt x="553" y="1093"/>
                      <a:pt x="553" y="1090"/>
                    </a:cubicBezTo>
                    <a:cubicBezTo>
                      <a:pt x="545" y="1084"/>
                      <a:pt x="537" y="1074"/>
                      <a:pt x="530" y="1075"/>
                    </a:cubicBezTo>
                    <a:cubicBezTo>
                      <a:pt x="523" y="1076"/>
                      <a:pt x="516" y="1087"/>
                      <a:pt x="509" y="1093"/>
                    </a:cubicBezTo>
                    <a:cubicBezTo>
                      <a:pt x="516" y="1100"/>
                      <a:pt x="522" y="1111"/>
                      <a:pt x="529" y="1112"/>
                    </a:cubicBezTo>
                    <a:cubicBezTo>
                      <a:pt x="536" y="1114"/>
                      <a:pt x="545" y="1104"/>
                      <a:pt x="553" y="1099"/>
                    </a:cubicBezTo>
                    <a:close/>
                    <a:moveTo>
                      <a:pt x="773" y="1100"/>
                    </a:moveTo>
                    <a:cubicBezTo>
                      <a:pt x="773" y="1097"/>
                      <a:pt x="773" y="1093"/>
                      <a:pt x="773" y="1090"/>
                    </a:cubicBezTo>
                    <a:cubicBezTo>
                      <a:pt x="766" y="1085"/>
                      <a:pt x="758" y="1074"/>
                      <a:pt x="751" y="1075"/>
                    </a:cubicBezTo>
                    <a:cubicBezTo>
                      <a:pt x="743" y="1076"/>
                      <a:pt x="737" y="1087"/>
                      <a:pt x="730" y="1093"/>
                    </a:cubicBezTo>
                    <a:cubicBezTo>
                      <a:pt x="736" y="1100"/>
                      <a:pt x="742" y="1111"/>
                      <a:pt x="749" y="1112"/>
                    </a:cubicBezTo>
                    <a:cubicBezTo>
                      <a:pt x="756" y="1114"/>
                      <a:pt x="765" y="1104"/>
                      <a:pt x="773" y="1100"/>
                    </a:cubicBezTo>
                    <a:close/>
                    <a:moveTo>
                      <a:pt x="644" y="1181"/>
                    </a:moveTo>
                    <a:cubicBezTo>
                      <a:pt x="641" y="1181"/>
                      <a:pt x="638" y="1181"/>
                      <a:pt x="634" y="1181"/>
                    </a:cubicBezTo>
                    <a:cubicBezTo>
                      <a:pt x="630" y="1189"/>
                      <a:pt x="620" y="1198"/>
                      <a:pt x="621" y="1205"/>
                    </a:cubicBezTo>
                    <a:cubicBezTo>
                      <a:pt x="623" y="1212"/>
                      <a:pt x="634" y="1218"/>
                      <a:pt x="641" y="1224"/>
                    </a:cubicBezTo>
                    <a:cubicBezTo>
                      <a:pt x="647" y="1217"/>
                      <a:pt x="658" y="1211"/>
                      <a:pt x="659" y="1203"/>
                    </a:cubicBezTo>
                    <a:cubicBezTo>
                      <a:pt x="660" y="1196"/>
                      <a:pt x="649" y="1188"/>
                      <a:pt x="644" y="1181"/>
                    </a:cubicBezTo>
                    <a:close/>
                    <a:moveTo>
                      <a:pt x="1207" y="603"/>
                    </a:moveTo>
                    <a:cubicBezTo>
                      <a:pt x="1204" y="603"/>
                      <a:pt x="1201" y="603"/>
                      <a:pt x="1198" y="603"/>
                    </a:cubicBezTo>
                    <a:cubicBezTo>
                      <a:pt x="1194" y="611"/>
                      <a:pt x="1186" y="619"/>
                      <a:pt x="1185" y="627"/>
                    </a:cubicBezTo>
                    <a:cubicBezTo>
                      <a:pt x="1183" y="639"/>
                      <a:pt x="1193" y="648"/>
                      <a:pt x="1205" y="645"/>
                    </a:cubicBezTo>
                    <a:cubicBezTo>
                      <a:pt x="1213" y="643"/>
                      <a:pt x="1223" y="632"/>
                      <a:pt x="1223" y="625"/>
                    </a:cubicBezTo>
                    <a:cubicBezTo>
                      <a:pt x="1223" y="618"/>
                      <a:pt x="1213" y="610"/>
                      <a:pt x="1207" y="603"/>
                    </a:cubicBezTo>
                    <a:close/>
                    <a:moveTo>
                      <a:pt x="1007" y="258"/>
                    </a:moveTo>
                    <a:cubicBezTo>
                      <a:pt x="1007" y="256"/>
                      <a:pt x="1007" y="253"/>
                      <a:pt x="1007" y="250"/>
                    </a:cubicBezTo>
                    <a:cubicBezTo>
                      <a:pt x="999" y="244"/>
                      <a:pt x="991" y="234"/>
                      <a:pt x="984" y="235"/>
                    </a:cubicBezTo>
                    <a:cubicBezTo>
                      <a:pt x="976" y="236"/>
                      <a:pt x="965" y="248"/>
                      <a:pt x="965" y="255"/>
                    </a:cubicBezTo>
                    <a:cubicBezTo>
                      <a:pt x="965" y="261"/>
                      <a:pt x="977" y="272"/>
                      <a:pt x="985" y="273"/>
                    </a:cubicBezTo>
                    <a:cubicBezTo>
                      <a:pt x="992" y="274"/>
                      <a:pt x="1000" y="264"/>
                      <a:pt x="1007" y="258"/>
                    </a:cubicBezTo>
                    <a:close/>
                    <a:moveTo>
                      <a:pt x="277" y="305"/>
                    </a:moveTo>
                    <a:cubicBezTo>
                      <a:pt x="280" y="305"/>
                      <a:pt x="283" y="305"/>
                      <a:pt x="287" y="305"/>
                    </a:cubicBezTo>
                    <a:cubicBezTo>
                      <a:pt x="292" y="298"/>
                      <a:pt x="301" y="289"/>
                      <a:pt x="301" y="283"/>
                    </a:cubicBezTo>
                    <a:cubicBezTo>
                      <a:pt x="300" y="275"/>
                      <a:pt x="289" y="269"/>
                      <a:pt x="282" y="262"/>
                    </a:cubicBezTo>
                    <a:cubicBezTo>
                      <a:pt x="276" y="268"/>
                      <a:pt x="264" y="274"/>
                      <a:pt x="263" y="282"/>
                    </a:cubicBezTo>
                    <a:cubicBezTo>
                      <a:pt x="262" y="289"/>
                      <a:pt x="272" y="297"/>
                      <a:pt x="277" y="305"/>
                    </a:cubicBezTo>
                    <a:close/>
                    <a:moveTo>
                      <a:pt x="286" y="961"/>
                    </a:moveTo>
                    <a:cubicBezTo>
                      <a:pt x="283" y="961"/>
                      <a:pt x="280" y="961"/>
                      <a:pt x="277" y="961"/>
                    </a:cubicBezTo>
                    <a:cubicBezTo>
                      <a:pt x="272" y="969"/>
                      <a:pt x="262" y="977"/>
                      <a:pt x="263" y="984"/>
                    </a:cubicBezTo>
                    <a:cubicBezTo>
                      <a:pt x="264" y="992"/>
                      <a:pt x="276" y="998"/>
                      <a:pt x="282" y="1004"/>
                    </a:cubicBezTo>
                    <a:cubicBezTo>
                      <a:pt x="289" y="997"/>
                      <a:pt x="300" y="991"/>
                      <a:pt x="301" y="983"/>
                    </a:cubicBezTo>
                    <a:cubicBezTo>
                      <a:pt x="301" y="976"/>
                      <a:pt x="292" y="968"/>
                      <a:pt x="286" y="961"/>
                    </a:cubicBezTo>
                    <a:close/>
                    <a:moveTo>
                      <a:pt x="1035" y="988"/>
                    </a:moveTo>
                    <a:cubicBezTo>
                      <a:pt x="1035" y="985"/>
                      <a:pt x="1035" y="982"/>
                      <a:pt x="1035" y="980"/>
                    </a:cubicBezTo>
                    <a:cubicBezTo>
                      <a:pt x="1027" y="974"/>
                      <a:pt x="1019" y="964"/>
                      <a:pt x="1011" y="965"/>
                    </a:cubicBezTo>
                    <a:cubicBezTo>
                      <a:pt x="1004" y="966"/>
                      <a:pt x="993" y="977"/>
                      <a:pt x="993" y="984"/>
                    </a:cubicBezTo>
                    <a:cubicBezTo>
                      <a:pt x="993" y="991"/>
                      <a:pt x="1004" y="1002"/>
                      <a:pt x="1012" y="1003"/>
                    </a:cubicBezTo>
                    <a:cubicBezTo>
                      <a:pt x="1019" y="1004"/>
                      <a:pt x="1027" y="993"/>
                      <a:pt x="1035" y="9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91" name="Freeform 328"/>
              <p:cNvSpPr>
                <a:spLocks noEditPoints="1"/>
              </p:cNvSpPr>
              <p:nvPr/>
            </p:nvSpPr>
            <p:spPr bwMode="auto">
              <a:xfrm>
                <a:off x="6539812" y="5414478"/>
                <a:ext cx="426419" cy="426418"/>
              </a:xfrm>
              <a:custGeom>
                <a:avLst/>
                <a:gdLst>
                  <a:gd name="T0" fmla="*/ 465 w 465"/>
                  <a:gd name="T1" fmla="*/ 0 h 465"/>
                  <a:gd name="T2" fmla="*/ 465 w 465"/>
                  <a:gd name="T3" fmla="*/ 465 h 465"/>
                  <a:gd name="T4" fmla="*/ 0 w 465"/>
                  <a:gd name="T5" fmla="*/ 465 h 465"/>
                  <a:gd name="T6" fmla="*/ 0 w 465"/>
                  <a:gd name="T7" fmla="*/ 0 h 465"/>
                  <a:gd name="T8" fmla="*/ 465 w 465"/>
                  <a:gd name="T9" fmla="*/ 0 h 465"/>
                  <a:gd name="T10" fmla="*/ 41 w 465"/>
                  <a:gd name="T11" fmla="*/ 42 h 465"/>
                  <a:gd name="T12" fmla="*/ 41 w 465"/>
                  <a:gd name="T13" fmla="*/ 425 h 465"/>
                  <a:gd name="T14" fmla="*/ 423 w 465"/>
                  <a:gd name="T15" fmla="*/ 425 h 465"/>
                  <a:gd name="T16" fmla="*/ 423 w 465"/>
                  <a:gd name="T17" fmla="*/ 42 h 465"/>
                  <a:gd name="T18" fmla="*/ 41 w 465"/>
                  <a:gd name="T19" fmla="*/ 42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5" h="465">
                    <a:moveTo>
                      <a:pt x="465" y="0"/>
                    </a:moveTo>
                    <a:cubicBezTo>
                      <a:pt x="465" y="155"/>
                      <a:pt x="465" y="310"/>
                      <a:pt x="465" y="465"/>
                    </a:cubicBezTo>
                    <a:cubicBezTo>
                      <a:pt x="310" y="465"/>
                      <a:pt x="156" y="465"/>
                      <a:pt x="0" y="465"/>
                    </a:cubicBezTo>
                    <a:cubicBezTo>
                      <a:pt x="0" y="310"/>
                      <a:pt x="0" y="156"/>
                      <a:pt x="0" y="0"/>
                    </a:cubicBezTo>
                    <a:cubicBezTo>
                      <a:pt x="155" y="0"/>
                      <a:pt x="309" y="0"/>
                      <a:pt x="465" y="0"/>
                    </a:cubicBezTo>
                    <a:close/>
                    <a:moveTo>
                      <a:pt x="41" y="42"/>
                    </a:moveTo>
                    <a:cubicBezTo>
                      <a:pt x="41" y="171"/>
                      <a:pt x="41" y="298"/>
                      <a:pt x="41" y="425"/>
                    </a:cubicBezTo>
                    <a:cubicBezTo>
                      <a:pt x="169" y="425"/>
                      <a:pt x="296" y="425"/>
                      <a:pt x="423" y="425"/>
                    </a:cubicBezTo>
                    <a:cubicBezTo>
                      <a:pt x="423" y="296"/>
                      <a:pt x="423" y="169"/>
                      <a:pt x="423" y="42"/>
                    </a:cubicBezTo>
                    <a:cubicBezTo>
                      <a:pt x="295" y="42"/>
                      <a:pt x="169" y="42"/>
                      <a:pt x="41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92" name="Freeform 329"/>
              <p:cNvSpPr>
                <a:spLocks noEditPoints="1"/>
              </p:cNvSpPr>
              <p:nvPr/>
            </p:nvSpPr>
            <p:spPr bwMode="auto">
              <a:xfrm>
                <a:off x="6606581" y="5483962"/>
                <a:ext cx="291545" cy="290182"/>
              </a:xfrm>
              <a:custGeom>
                <a:avLst/>
                <a:gdLst>
                  <a:gd name="T0" fmla="*/ 159 w 317"/>
                  <a:gd name="T1" fmla="*/ 317 h 317"/>
                  <a:gd name="T2" fmla="*/ 0 w 317"/>
                  <a:gd name="T3" fmla="*/ 158 h 317"/>
                  <a:gd name="T4" fmla="*/ 158 w 317"/>
                  <a:gd name="T5" fmla="*/ 0 h 317"/>
                  <a:gd name="T6" fmla="*/ 316 w 317"/>
                  <a:gd name="T7" fmla="*/ 158 h 317"/>
                  <a:gd name="T8" fmla="*/ 159 w 317"/>
                  <a:gd name="T9" fmla="*/ 317 h 317"/>
                  <a:gd name="T10" fmla="*/ 42 w 317"/>
                  <a:gd name="T11" fmla="*/ 158 h 317"/>
                  <a:gd name="T12" fmla="*/ 159 w 317"/>
                  <a:gd name="T13" fmla="*/ 275 h 317"/>
                  <a:gd name="T14" fmla="*/ 274 w 317"/>
                  <a:gd name="T15" fmla="*/ 159 h 317"/>
                  <a:gd name="T16" fmla="*/ 158 w 317"/>
                  <a:gd name="T17" fmla="*/ 41 h 317"/>
                  <a:gd name="T18" fmla="*/ 42 w 317"/>
                  <a:gd name="T19" fmla="*/ 158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7" h="317">
                    <a:moveTo>
                      <a:pt x="159" y="317"/>
                    </a:moveTo>
                    <a:cubicBezTo>
                      <a:pt x="72" y="317"/>
                      <a:pt x="0" y="245"/>
                      <a:pt x="0" y="158"/>
                    </a:cubicBezTo>
                    <a:cubicBezTo>
                      <a:pt x="0" y="71"/>
                      <a:pt x="72" y="0"/>
                      <a:pt x="158" y="0"/>
                    </a:cubicBezTo>
                    <a:cubicBezTo>
                      <a:pt x="244" y="0"/>
                      <a:pt x="315" y="71"/>
                      <a:pt x="316" y="158"/>
                    </a:cubicBezTo>
                    <a:cubicBezTo>
                      <a:pt x="317" y="244"/>
                      <a:pt x="245" y="316"/>
                      <a:pt x="159" y="317"/>
                    </a:cubicBezTo>
                    <a:close/>
                    <a:moveTo>
                      <a:pt x="42" y="158"/>
                    </a:moveTo>
                    <a:cubicBezTo>
                      <a:pt x="42" y="223"/>
                      <a:pt x="94" y="275"/>
                      <a:pt x="159" y="275"/>
                    </a:cubicBezTo>
                    <a:cubicBezTo>
                      <a:pt x="222" y="274"/>
                      <a:pt x="274" y="222"/>
                      <a:pt x="274" y="159"/>
                    </a:cubicBezTo>
                    <a:cubicBezTo>
                      <a:pt x="275" y="95"/>
                      <a:pt x="222" y="42"/>
                      <a:pt x="158" y="41"/>
                    </a:cubicBezTo>
                    <a:cubicBezTo>
                      <a:pt x="94" y="41"/>
                      <a:pt x="41" y="94"/>
                      <a:pt x="42" y="1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endParaRPr>
              </a:p>
            </p:txBody>
          </p:sp>
        </p:grpSp>
      </p:grp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5C861920-EC4C-8D43-8A30-0DFAAFB2FD73}"/>
              </a:ext>
            </a:extLst>
          </p:cNvPr>
          <p:cNvCxnSpPr>
            <a:cxnSpLocks/>
          </p:cNvCxnSpPr>
          <p:nvPr/>
        </p:nvCxnSpPr>
        <p:spPr>
          <a:xfrm flipH="1" flipV="1">
            <a:off x="7554733" y="1800272"/>
            <a:ext cx="3323" cy="1028164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Freeform 93"/>
          <p:cNvSpPr/>
          <p:nvPr/>
        </p:nvSpPr>
        <p:spPr>
          <a:xfrm>
            <a:off x="5160897" y="4054819"/>
            <a:ext cx="1646857" cy="823428"/>
          </a:xfrm>
          <a:custGeom>
            <a:avLst/>
            <a:gdLst>
              <a:gd name="connsiteX0" fmla="*/ 599919 w 1199838"/>
              <a:gd name="connsiteY0" fmla="*/ 0 h 599918"/>
              <a:gd name="connsiteX1" fmla="*/ 1187650 w 1199838"/>
              <a:gd name="connsiteY1" fmla="*/ 479014 h 599918"/>
              <a:gd name="connsiteX2" fmla="*/ 1199838 w 1199838"/>
              <a:gd name="connsiteY2" fmla="*/ 599918 h 599918"/>
              <a:gd name="connsiteX3" fmla="*/ 0 w 1199838"/>
              <a:gd name="connsiteY3" fmla="*/ 599918 h 599918"/>
              <a:gd name="connsiteX4" fmla="*/ 12188 w 1199838"/>
              <a:gd name="connsiteY4" fmla="*/ 479014 h 599918"/>
              <a:gd name="connsiteX5" fmla="*/ 599919 w 1199838"/>
              <a:gd name="connsiteY5" fmla="*/ 0 h 599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99838" h="599918">
                <a:moveTo>
                  <a:pt x="599919" y="0"/>
                </a:moveTo>
                <a:cubicBezTo>
                  <a:pt x="889829" y="0"/>
                  <a:pt x="1131710" y="205642"/>
                  <a:pt x="1187650" y="479014"/>
                </a:cubicBezTo>
                <a:lnTo>
                  <a:pt x="1199838" y="599918"/>
                </a:lnTo>
                <a:lnTo>
                  <a:pt x="0" y="599918"/>
                </a:lnTo>
                <a:lnTo>
                  <a:pt x="12188" y="479014"/>
                </a:lnTo>
                <a:cubicBezTo>
                  <a:pt x="68129" y="205642"/>
                  <a:pt x="310009" y="0"/>
                  <a:pt x="599919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vert="horz" wrap="square" lIns="121920" tIns="60960" rIns="121920" bIns="6096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1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HF</a:t>
            </a:r>
          </a:p>
          <a:p>
            <a:pPr marL="0" marR="0" lvl="0" indent="0" algn="ctr" defTabSz="9141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verview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AD963E7-241F-3D46-B503-D2E6D1A4016A}"/>
              </a:ext>
            </a:extLst>
          </p:cNvPr>
          <p:cNvCxnSpPr>
            <a:cxnSpLocks/>
            <a:stCxn id="94" idx="4"/>
          </p:cNvCxnSpPr>
          <p:nvPr/>
        </p:nvCxnSpPr>
        <p:spPr>
          <a:xfrm flipH="1" flipV="1">
            <a:off x="4872191" y="4540748"/>
            <a:ext cx="305435" cy="1715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3AD963E7-241F-3D46-B503-D2E6D1A4016A}"/>
              </a:ext>
            </a:extLst>
          </p:cNvPr>
          <p:cNvCxnSpPr>
            <a:cxnSpLocks/>
          </p:cNvCxnSpPr>
          <p:nvPr/>
        </p:nvCxnSpPr>
        <p:spPr>
          <a:xfrm flipH="1" flipV="1">
            <a:off x="5236866" y="3992818"/>
            <a:ext cx="265332" cy="24930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AD963E7-241F-3D46-B503-D2E6D1A4016A}"/>
              </a:ext>
            </a:extLst>
          </p:cNvPr>
          <p:cNvCxnSpPr>
            <a:cxnSpLocks/>
          </p:cNvCxnSpPr>
          <p:nvPr/>
        </p:nvCxnSpPr>
        <p:spPr>
          <a:xfrm flipV="1">
            <a:off x="5908312" y="3657472"/>
            <a:ext cx="0" cy="41148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AD963E7-241F-3D46-B503-D2E6D1A4016A}"/>
              </a:ext>
            </a:extLst>
          </p:cNvPr>
          <p:cNvCxnSpPr>
            <a:cxnSpLocks/>
          </p:cNvCxnSpPr>
          <p:nvPr/>
        </p:nvCxnSpPr>
        <p:spPr>
          <a:xfrm flipV="1">
            <a:off x="6450711" y="3886970"/>
            <a:ext cx="293979" cy="34112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3AD963E7-241F-3D46-B503-D2E6D1A4016A}"/>
              </a:ext>
            </a:extLst>
          </p:cNvPr>
          <p:cNvCxnSpPr>
            <a:cxnSpLocks/>
          </p:cNvCxnSpPr>
          <p:nvPr/>
        </p:nvCxnSpPr>
        <p:spPr>
          <a:xfrm flipV="1">
            <a:off x="6776000" y="4587866"/>
            <a:ext cx="365760" cy="9144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4B8AE392-F126-544D-897A-049A3370C155}"/>
              </a:ext>
            </a:extLst>
          </p:cNvPr>
          <p:cNvSpPr/>
          <p:nvPr/>
        </p:nvSpPr>
        <p:spPr>
          <a:xfrm>
            <a:off x="298482" y="3992818"/>
            <a:ext cx="2597438" cy="2262246"/>
          </a:xfrm>
          <a:prstGeom prst="rect">
            <a:avLst/>
          </a:prstGeom>
          <a:solidFill>
            <a:srgbClr val="FDFDFD"/>
          </a:solidFill>
          <a:ln>
            <a:solidFill>
              <a:srgbClr val="00589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onitoring Tools : Cloud native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olarwinds</a:t>
            </a: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Backup : OneDrive,</a:t>
            </a:r>
            <a:r>
              <a:rPr kumimoji="0" lang="en-US" sz="1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Native Backup</a:t>
            </a: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VDI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: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Horizon / WV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DM :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Intune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Patch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: SCCM 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Reporting &amp; Log : ELK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MP : ServiceNow CMP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yber Threat Defense Platform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loud Economics: Cloudyn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0764EDD-7A5E-7844-BE41-C12BEB77198A}"/>
              </a:ext>
            </a:extLst>
          </p:cNvPr>
          <p:cNvSpPr/>
          <p:nvPr/>
        </p:nvSpPr>
        <p:spPr>
          <a:xfrm>
            <a:off x="2834395" y="3992818"/>
            <a:ext cx="64029" cy="2262246"/>
          </a:xfrm>
          <a:prstGeom prst="rect">
            <a:avLst/>
          </a:prstGeom>
          <a:solidFill>
            <a:srgbClr val="00589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C861920-EC4C-8D43-8A30-0DFAAFB2FD73}"/>
              </a:ext>
            </a:extLst>
          </p:cNvPr>
          <p:cNvCxnSpPr>
            <a:cxnSpLocks/>
          </p:cNvCxnSpPr>
          <p:nvPr/>
        </p:nvCxnSpPr>
        <p:spPr>
          <a:xfrm>
            <a:off x="2895920" y="4287836"/>
            <a:ext cx="365760" cy="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B8AE392-F126-544D-897A-049A3370C155}"/>
              </a:ext>
            </a:extLst>
          </p:cNvPr>
          <p:cNvSpPr/>
          <p:nvPr/>
        </p:nvSpPr>
        <p:spPr>
          <a:xfrm>
            <a:off x="8919444" y="4427231"/>
            <a:ext cx="3177598" cy="1835722"/>
          </a:xfrm>
          <a:prstGeom prst="rect">
            <a:avLst/>
          </a:prstGeom>
          <a:solidFill>
            <a:srgbClr val="FDFDFD"/>
          </a:solidFill>
          <a:ln>
            <a:solidFill>
              <a:srgbClr val="00AE5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Azure, AWS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OpenShif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Windows, Linux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Azure AD Backup, File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S SQL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Qualy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; IBM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QRadar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Metaspo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kyHig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 CASB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ymantec (Bluecoat)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yberArk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OpenTex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0764EDD-7A5E-7844-BE41-C12BEB77198A}"/>
              </a:ext>
            </a:extLst>
          </p:cNvPr>
          <p:cNvSpPr/>
          <p:nvPr/>
        </p:nvSpPr>
        <p:spPr>
          <a:xfrm>
            <a:off x="8891308" y="4427230"/>
            <a:ext cx="62187" cy="1828800"/>
          </a:xfrm>
          <a:prstGeom prst="rect">
            <a:avLst/>
          </a:prstGeom>
          <a:solidFill>
            <a:srgbClr val="00AE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0632975" y="4574961"/>
            <a:ext cx="144999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isco Meraki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O365 suite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Horizon VDI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Symantec SEP 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isco/ Fortinet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Proofpoint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arbon Black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Wombat</a:t>
            </a:r>
          </a:p>
          <a:p>
            <a:pPr marL="279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entury link SDWAN; ECX</a:t>
            </a:r>
          </a:p>
        </p:txBody>
      </p:sp>
      <p:sp>
        <p:nvSpPr>
          <p:cNvPr id="10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929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4" y="209007"/>
            <a:ext cx="11180064" cy="1060704"/>
          </a:xfrm>
        </p:spPr>
        <p:txBody>
          <a:bodyPr/>
          <a:lstStyle/>
          <a:p>
            <a:r>
              <a:rPr lang="en-US" dirty="0" smtClean="0"/>
              <a:t>Current Vs. Target Environmen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1003300" y="677659"/>
            <a:ext cx="9664699" cy="5227841"/>
            <a:chOff x="1961795" y="677659"/>
            <a:chExt cx="7887418" cy="4456857"/>
          </a:xfrm>
        </p:grpSpPr>
        <p:grpSp>
          <p:nvGrpSpPr>
            <p:cNvPr id="39" name="Group 38"/>
            <p:cNvGrpSpPr/>
            <p:nvPr/>
          </p:nvGrpSpPr>
          <p:grpSpPr>
            <a:xfrm>
              <a:off x="6225725" y="984638"/>
              <a:ext cx="3623488" cy="963594"/>
              <a:chOff x="6506033" y="680306"/>
              <a:chExt cx="4831317" cy="1284792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6506033" y="859763"/>
                <a:ext cx="4831317" cy="1105335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75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1" name="Rounded Rectangle 40"/>
              <p:cNvSpPr/>
              <p:nvPr/>
            </p:nvSpPr>
            <p:spPr>
              <a:xfrm>
                <a:off x="6681720" y="680306"/>
                <a:ext cx="1487038" cy="279400"/>
              </a:xfrm>
              <a:prstGeom prst="roundRect">
                <a:avLst/>
              </a:prstGeom>
              <a:solidFill>
                <a:srgbClr val="0033A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r>
                  <a:rPr lang="en-US" sz="750" b="1" dirty="0">
                    <a:solidFill>
                      <a:prstClr val="white"/>
                    </a:solidFill>
                    <a:latin typeface="+mj-lt"/>
                    <a:cs typeface="Arial" panose="020B0604020202020204" pitchFamily="34" charset="0"/>
                  </a:rPr>
                  <a:t>IaaS</a:t>
                </a:r>
              </a:p>
            </p:txBody>
          </p:sp>
          <p:grpSp>
            <p:nvGrpSpPr>
              <p:cNvPr id="42" name="Group 41"/>
              <p:cNvGrpSpPr/>
              <p:nvPr/>
            </p:nvGrpSpPr>
            <p:grpSpPr>
              <a:xfrm>
                <a:off x="8430048" y="977989"/>
                <a:ext cx="1972496" cy="984793"/>
                <a:chOff x="8645863" y="978573"/>
                <a:chExt cx="1972496" cy="984793"/>
              </a:xfrm>
            </p:grpSpPr>
            <p:sp>
              <p:nvSpPr>
                <p:cNvPr id="61" name="Rectangle 60"/>
                <p:cNvSpPr/>
                <p:nvPr/>
              </p:nvSpPr>
              <p:spPr>
                <a:xfrm>
                  <a:off x="8645863" y="990773"/>
                  <a:ext cx="1972496" cy="946478"/>
                </a:xfrm>
                <a:prstGeom prst="rect">
                  <a:avLst/>
                </a:prstGeom>
                <a:noFill/>
                <a:ln w="6350">
                  <a:solidFill>
                    <a:srgbClr val="87D511"/>
                  </a:solidFill>
                  <a:prstDash val="lgDashDot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grpSp>
              <p:nvGrpSpPr>
                <p:cNvPr id="62" name="Group 61"/>
                <p:cNvGrpSpPr/>
                <p:nvPr/>
              </p:nvGrpSpPr>
              <p:grpSpPr>
                <a:xfrm>
                  <a:off x="8718281" y="978573"/>
                  <a:ext cx="1827660" cy="984793"/>
                  <a:chOff x="8698926" y="1174776"/>
                  <a:chExt cx="1827660" cy="984793"/>
                </a:xfrm>
              </p:grpSpPr>
              <p:grpSp>
                <p:nvGrpSpPr>
                  <p:cNvPr id="63" name="Group 62"/>
                  <p:cNvGrpSpPr/>
                  <p:nvPr/>
                </p:nvGrpSpPr>
                <p:grpSpPr>
                  <a:xfrm>
                    <a:off x="9990765" y="1251811"/>
                    <a:ext cx="535821" cy="804881"/>
                    <a:chOff x="9990765" y="1251811"/>
                    <a:chExt cx="535821" cy="804881"/>
                  </a:xfrm>
                </p:grpSpPr>
                <p:grpSp>
                  <p:nvGrpSpPr>
                    <p:cNvPr id="82" name="Group 81"/>
                    <p:cNvGrpSpPr/>
                    <p:nvPr/>
                  </p:nvGrpSpPr>
                  <p:grpSpPr>
                    <a:xfrm>
                      <a:off x="10017613" y="1251811"/>
                      <a:ext cx="482128" cy="481995"/>
                      <a:chOff x="3733431" y="1046156"/>
                      <a:chExt cx="718681" cy="684511"/>
                    </a:xfrm>
                  </p:grpSpPr>
                  <p:pic>
                    <p:nvPicPr>
                      <p:cNvPr id="85" name="Picture 12" descr="Image result for ZABBIX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" cstate="email">
                        <a:clrChange>
                          <a:clrFrom>
                            <a:srgbClr val="FFFFFF"/>
                          </a:clrFrom>
                          <a:clrTo>
                            <a:srgbClr val="FFFFFF">
                              <a:alpha val="0"/>
                            </a:srgbClr>
                          </a:clrTo>
                        </a:clrChange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33431" y="1046156"/>
                        <a:ext cx="718681" cy="40425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  <p:pic>
                    <p:nvPicPr>
                      <p:cNvPr id="86" name="Picture 2" descr="Image result for zabbix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 cstate="email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6392" y="1328701"/>
                        <a:ext cx="652759" cy="40196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grpSp>
                <p:sp>
                  <p:nvSpPr>
                    <p:cNvPr id="83" name="Rectangle 82"/>
                    <p:cNvSpPr/>
                    <p:nvPr/>
                  </p:nvSpPr>
                  <p:spPr>
                    <a:xfrm>
                      <a:off x="9990765" y="1297039"/>
                      <a:ext cx="535821" cy="666457"/>
                    </a:xfrm>
                    <a:prstGeom prst="rect">
                      <a:avLst/>
                    </a:prstGeom>
                    <a:noFill/>
                    <a:ln w="6350">
                      <a:solidFill>
                        <a:srgbClr val="1F649E"/>
                      </a:solidFill>
                      <a:prstDash val="lgDashDotDot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350"/>
                    </a:p>
                  </p:txBody>
                </p:sp>
                <p:pic>
                  <p:nvPicPr>
                    <p:cNvPr id="84" name="Picture 4" descr="Image result for HCL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4" cstate="email">
                      <a:clrChange>
                        <a:clrFrom>
                          <a:srgbClr val="FEFEFE"/>
                        </a:clrFrom>
                        <a:clrTo>
                          <a:srgbClr val="FEFEFE">
                            <a:alpha val="0"/>
                          </a:srgbClr>
                        </a:clrTo>
                      </a:clrChang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119614" y="1764766"/>
                      <a:ext cx="278124" cy="29192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sp>
                <p:nvSpPr>
                  <p:cNvPr id="64" name="TextBox 63"/>
                  <p:cNvSpPr txBox="1"/>
                  <p:nvPr/>
                </p:nvSpPr>
                <p:spPr>
                  <a:xfrm>
                    <a:off x="9537911" y="1944125"/>
                    <a:ext cx="359072" cy="215444"/>
                  </a:xfrm>
                  <a:prstGeom prst="rect">
                    <a:avLst/>
                  </a:prstGeom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l"/>
                    <a:r>
                      <a:rPr lang="en-US" sz="1050" dirty="0">
                        <a:ln>
                          <a:solidFill>
                            <a:srgbClr val="33BEB4"/>
                          </a:solidFill>
                        </a:ln>
                        <a:solidFill>
                          <a:srgbClr val="87D437"/>
                        </a:solidFill>
                      </a:rPr>
                      <a:t>BHF</a:t>
                    </a:r>
                  </a:p>
                </p:txBody>
              </p:sp>
              <p:grpSp>
                <p:nvGrpSpPr>
                  <p:cNvPr id="65" name="Group 64"/>
                  <p:cNvGrpSpPr/>
                  <p:nvPr/>
                </p:nvGrpSpPr>
                <p:grpSpPr>
                  <a:xfrm>
                    <a:off x="8698926" y="1174776"/>
                    <a:ext cx="1242881" cy="786456"/>
                    <a:chOff x="8698926" y="1174776"/>
                    <a:chExt cx="1242881" cy="786456"/>
                  </a:xfrm>
                </p:grpSpPr>
                <p:pic>
                  <p:nvPicPr>
                    <p:cNvPr id="66" name="Picture 65"/>
                    <p:cNvPicPr>
                      <a:picLocks noChangeAspect="1"/>
                    </p:cNvPicPr>
                    <p:nvPr/>
                  </p:nvPicPr>
                  <p:blipFill>
                    <a:blip r:embed="rId5" cstate="email">
                      <a:clrChange>
                        <a:clrFrom>
                          <a:srgbClr val="FFFFFF"/>
                        </a:clrFrom>
                        <a:clrTo>
                          <a:srgbClr val="FFFFFF">
                            <a:alpha val="0"/>
                          </a:srgbClr>
                        </a:clrTo>
                      </a:clrChang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975593" y="1174776"/>
                      <a:ext cx="526550" cy="210725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67" name="Group 66"/>
                    <p:cNvGrpSpPr/>
                    <p:nvPr/>
                  </p:nvGrpSpPr>
                  <p:grpSpPr>
                    <a:xfrm>
                      <a:off x="8698926" y="1378772"/>
                      <a:ext cx="1242881" cy="582460"/>
                      <a:chOff x="8698926" y="1378772"/>
                      <a:chExt cx="1242881" cy="582460"/>
                    </a:xfrm>
                  </p:grpSpPr>
                  <p:sp>
                    <p:nvSpPr>
                      <p:cNvPr id="68" name="Cloud 67"/>
                      <p:cNvSpPr/>
                      <p:nvPr/>
                    </p:nvSpPr>
                    <p:spPr>
                      <a:xfrm>
                        <a:off x="8698926" y="1378772"/>
                        <a:ext cx="1242881" cy="582460"/>
                      </a:xfrm>
                      <a:prstGeom prst="cloud">
                        <a:avLst/>
                      </a:prstGeom>
                      <a:solidFill>
                        <a:schemeClr val="bg1">
                          <a:lumMod val="85000"/>
                        </a:schemeClr>
                      </a:solidFill>
                      <a:ln w="3175">
                        <a:solidFill>
                          <a:schemeClr val="bg1">
                            <a:lumMod val="50000"/>
                            <a:alpha val="32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685800">
                          <a:defRPr/>
                        </a:pPr>
                        <a:endParaRPr lang="en-US" sz="750" dirty="0">
                          <a:solidFill>
                            <a:prstClr val="black"/>
                          </a:solidFill>
                          <a:latin typeface="+mj-lt"/>
                          <a:cs typeface="Arial" panose="020B0604020202020204" pitchFamily="34" charset="0"/>
                        </a:endParaRPr>
                      </a:p>
                    </p:txBody>
                  </p:sp>
                  <p:grpSp>
                    <p:nvGrpSpPr>
                      <p:cNvPr id="69" name="Group 68"/>
                      <p:cNvGrpSpPr/>
                      <p:nvPr/>
                    </p:nvGrpSpPr>
                    <p:grpSpPr>
                      <a:xfrm>
                        <a:off x="8743210" y="1478201"/>
                        <a:ext cx="416173" cy="169276"/>
                        <a:chOff x="1881759" y="1405570"/>
                        <a:chExt cx="416173" cy="173763"/>
                      </a:xfrm>
                    </p:grpSpPr>
                    <p:sp>
                      <p:nvSpPr>
                        <p:cNvPr id="80" name="TextBox 79"/>
                        <p:cNvSpPr txBox="1"/>
                        <p:nvPr/>
                      </p:nvSpPr>
                      <p:spPr>
                        <a:xfrm>
                          <a:off x="2139769" y="1405570"/>
                          <a:ext cx="158163" cy="173763"/>
                        </a:xfrm>
                        <a:prstGeom prst="rect">
                          <a:avLst/>
                        </a:prstGeom>
                      </p:spPr>
                      <p:txBody>
                        <a:bodyPr wrap="none" lIns="0" tIns="0" rIns="0" bIns="0" rtlCol="0">
                          <a:spAutoFit/>
                        </a:bodyPr>
                        <a:lstStyle/>
                        <a:p>
                          <a:pPr algn="l"/>
                          <a:r>
                            <a:rPr lang="en-US" sz="825" dirty="0">
                              <a:solidFill>
                                <a:schemeClr val="tx2"/>
                              </a:solidFill>
                            </a:rPr>
                            <a:t>78</a:t>
                          </a:r>
                        </a:p>
                      </p:txBody>
                    </p:sp>
                    <p:pic>
                      <p:nvPicPr>
                        <p:cNvPr id="81" name="Picture 10" descr="Image result for VIRTUAL MACHINE LOGO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 cstate="email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BEBA8EAE-BF5A-486C-A8C5-ECC9F3942E4B}">
                              <a14:imgProps xmlns:a14="http://schemas.microsoft.com/office/drawing/2010/main">
                                <a14:imgLayer r:embed="rId7">
                                  <a14:imgEffect>
                                    <a14:artisticPaintStrokes/>
                                  </a14:imgEffect>
                                </a14:imgLayer>
                              </a14:imgProps>
                            </a:ex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881759" y="1414861"/>
                          <a:ext cx="310081" cy="150694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grpSp>
                  <p:grpSp>
                    <p:nvGrpSpPr>
                      <p:cNvPr id="70" name="Group 69"/>
                      <p:cNvGrpSpPr/>
                      <p:nvPr/>
                    </p:nvGrpSpPr>
                    <p:grpSpPr>
                      <a:xfrm>
                        <a:off x="9190439" y="1469103"/>
                        <a:ext cx="356714" cy="183103"/>
                        <a:chOff x="1877718" y="1602934"/>
                        <a:chExt cx="356714" cy="187956"/>
                      </a:xfrm>
                    </p:grpSpPr>
                    <p:pic>
                      <p:nvPicPr>
                        <p:cNvPr id="78" name="Picture 4" descr="Image result for load balancer icon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 cstate="email">
                          <a:extLs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877718" y="1602934"/>
                          <a:ext cx="202256" cy="187956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  <p:sp>
                      <p:nvSpPr>
                        <p:cNvPr id="79" name="TextBox 78"/>
                        <p:cNvSpPr txBox="1"/>
                        <p:nvPr/>
                      </p:nvSpPr>
                      <p:spPr>
                        <a:xfrm>
                          <a:off x="2076270" y="1612274"/>
                          <a:ext cx="158162" cy="173764"/>
                        </a:xfrm>
                        <a:prstGeom prst="rect">
                          <a:avLst/>
                        </a:prstGeom>
                      </p:spPr>
                      <p:txBody>
                        <a:bodyPr wrap="none" lIns="0" tIns="0" rIns="0" bIns="0" rtlCol="0">
                          <a:spAutoFit/>
                        </a:bodyPr>
                        <a:lstStyle/>
                        <a:p>
                          <a:pPr algn="l"/>
                          <a:r>
                            <a:rPr lang="en-US" sz="825" dirty="0">
                              <a:solidFill>
                                <a:schemeClr val="tx2"/>
                              </a:solidFill>
                            </a:rPr>
                            <a:t>12</a:t>
                          </a:r>
                        </a:p>
                      </p:txBody>
                    </p:sp>
                  </p:grpSp>
                  <p:grpSp>
                    <p:nvGrpSpPr>
                      <p:cNvPr id="71" name="Group 70"/>
                      <p:cNvGrpSpPr/>
                      <p:nvPr/>
                    </p:nvGrpSpPr>
                    <p:grpSpPr>
                      <a:xfrm>
                        <a:off x="9624571" y="1477549"/>
                        <a:ext cx="272948" cy="177457"/>
                        <a:chOff x="2859313" y="1220984"/>
                        <a:chExt cx="272948" cy="182160"/>
                      </a:xfrm>
                    </p:grpSpPr>
                    <p:pic>
                      <p:nvPicPr>
                        <p:cNvPr id="76" name="Picture 75"/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9" cstate="email">
                          <a:clrChange>
                            <a:clrFrom>
                              <a:srgbClr val="FEFEFE"/>
                            </a:clrFrom>
                            <a:clrTo>
                              <a:srgbClr val="FEFEFE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2859313" y="1220984"/>
                          <a:ext cx="162863" cy="178333"/>
                        </a:xfrm>
                        <a:prstGeom prst="rect">
                          <a:avLst/>
                        </a:prstGeom>
                      </p:spPr>
                    </p:pic>
                    <p:sp>
                      <p:nvSpPr>
                        <p:cNvPr id="77" name="TextBox 76"/>
                        <p:cNvSpPr txBox="1"/>
                        <p:nvPr/>
                      </p:nvSpPr>
                      <p:spPr>
                        <a:xfrm>
                          <a:off x="3053178" y="1229381"/>
                          <a:ext cx="79083" cy="173763"/>
                        </a:xfrm>
                        <a:prstGeom prst="rect">
                          <a:avLst/>
                        </a:prstGeom>
                      </p:spPr>
                      <p:txBody>
                        <a:bodyPr wrap="none" lIns="0" tIns="0" rIns="0" bIns="0" rtlCol="0">
                          <a:spAutoFit/>
                        </a:bodyPr>
                        <a:lstStyle/>
                        <a:p>
                          <a:pPr algn="l"/>
                          <a:r>
                            <a:rPr lang="en-US" sz="825" dirty="0">
                              <a:solidFill>
                                <a:schemeClr val="tx2"/>
                              </a:solidFill>
                            </a:rPr>
                            <a:t>4</a:t>
                          </a:r>
                        </a:p>
                      </p:txBody>
                    </p:sp>
                  </p:grpSp>
                  <p:sp>
                    <p:nvSpPr>
                      <p:cNvPr id="72" name="Rounded Rectangle 71"/>
                      <p:cNvSpPr/>
                      <p:nvPr/>
                    </p:nvSpPr>
                    <p:spPr>
                      <a:xfrm>
                        <a:off x="8723366" y="1694449"/>
                        <a:ext cx="630934" cy="171314"/>
                      </a:xfrm>
                      <a:prstGeom prst="roundRect">
                        <a:avLst/>
                      </a:prstGeom>
                      <a:noFill/>
                      <a:ln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685800">
                          <a:defRPr/>
                        </a:pPr>
                        <a:r>
                          <a:rPr lang="en-US" sz="600" b="1" dirty="0">
                            <a:solidFill>
                              <a:prstClr val="black"/>
                            </a:solidFill>
                            <a:latin typeface="Arial" panose="020B0604020202020204"/>
                            <a:cs typeface="Arial" panose="020B0604020202020204" pitchFamily="34" charset="0"/>
                          </a:rPr>
                          <a:t>MS DNS</a:t>
                        </a:r>
                        <a:endParaRPr lang="en-US" sz="150" dirty="0">
                          <a:solidFill>
                            <a:prstClr val="black"/>
                          </a:solidFill>
                          <a:latin typeface="Arial" panose="020B0604020202020204"/>
                          <a:cs typeface="Arial" panose="020B0604020202020204" pitchFamily="34" charset="0"/>
                        </a:endParaRPr>
                      </a:p>
                    </p:txBody>
                  </p:sp>
                  <p:grpSp>
                    <p:nvGrpSpPr>
                      <p:cNvPr id="73" name="Group 72"/>
                      <p:cNvGrpSpPr/>
                      <p:nvPr/>
                    </p:nvGrpSpPr>
                    <p:grpSpPr>
                      <a:xfrm>
                        <a:off x="9264252" y="1698318"/>
                        <a:ext cx="482373" cy="159985"/>
                        <a:chOff x="8644128" y="1751672"/>
                        <a:chExt cx="482373" cy="159985"/>
                      </a:xfrm>
                    </p:grpSpPr>
                    <p:sp>
                      <p:nvSpPr>
                        <p:cNvPr id="74" name="TextBox 73"/>
                        <p:cNvSpPr txBox="1"/>
                        <p:nvPr/>
                      </p:nvSpPr>
                      <p:spPr>
                        <a:xfrm>
                          <a:off x="8902648" y="1751672"/>
                          <a:ext cx="223853" cy="153888"/>
                        </a:xfrm>
                        <a:prstGeom prst="rect">
                          <a:avLst/>
                        </a:prstGeom>
                      </p:spPr>
                      <p:txBody>
                        <a:bodyPr wrap="square" lIns="0" tIns="0" rIns="0" bIns="0" rtlCol="0">
                          <a:spAutoFit/>
                        </a:bodyPr>
                        <a:lstStyle/>
                        <a:p>
                          <a:pPr algn="l"/>
                          <a:r>
                            <a:rPr lang="en-US" sz="375" dirty="0">
                              <a:solidFill>
                                <a:schemeClr val="tx2"/>
                              </a:solidFill>
                            </a:rPr>
                            <a:t>VMs from SL</a:t>
                          </a:r>
                        </a:p>
                      </p:txBody>
                    </p:sp>
                    <p:pic>
                      <p:nvPicPr>
                        <p:cNvPr id="75" name="Picture 10" descr="Image result for VIRTUAL MACHINE LOGO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 cstate="email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BEBA8EAE-BF5A-486C-A8C5-ECC9F3942E4B}">
                              <a14:imgProps xmlns:a14="http://schemas.microsoft.com/office/drawing/2010/main">
                                <a14:imgLayer r:embed="rId7">
                                  <a14:imgEffect>
                                    <a14:artisticPaintStrokes/>
                                  </a14:imgEffect>
                                </a14:imgLayer>
                              </a14:imgProps>
                            </a:ex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644128" y="1760963"/>
                          <a:ext cx="310081" cy="150694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grpSp>
                </p:grpSp>
              </p:grpSp>
            </p:grpSp>
          </p:grpSp>
          <p:grpSp>
            <p:nvGrpSpPr>
              <p:cNvPr id="43" name="Group 42"/>
              <p:cNvGrpSpPr/>
              <p:nvPr/>
            </p:nvGrpSpPr>
            <p:grpSpPr>
              <a:xfrm>
                <a:off x="10672847" y="988948"/>
                <a:ext cx="554185" cy="955579"/>
                <a:chOff x="5043653" y="1210939"/>
                <a:chExt cx="554185" cy="955579"/>
              </a:xfrm>
            </p:grpSpPr>
            <p:pic>
              <p:nvPicPr>
                <p:cNvPr id="58" name="Picture 4" descr="Image result for openshift"/>
                <p:cNvPicPr>
                  <a:picLocks noChangeAspect="1" noChangeArrowheads="1"/>
                </p:cNvPicPr>
                <p:nvPr/>
              </p:nvPicPr>
              <p:blipFill>
                <a:blip r:embed="rId10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54401" y="1350496"/>
                  <a:ext cx="369335" cy="46893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9" name="Rectangle 58"/>
                <p:cNvSpPr/>
                <p:nvPr/>
              </p:nvSpPr>
              <p:spPr>
                <a:xfrm>
                  <a:off x="5043653" y="1210939"/>
                  <a:ext cx="554185" cy="946478"/>
                </a:xfrm>
                <a:prstGeom prst="rect">
                  <a:avLst/>
                </a:prstGeom>
                <a:noFill/>
                <a:ln w="6350">
                  <a:solidFill>
                    <a:srgbClr val="87D511"/>
                  </a:solidFill>
                  <a:prstDash val="lgDashDot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60" name="TextBox 59"/>
                <p:cNvSpPr txBox="1"/>
                <p:nvPr/>
              </p:nvSpPr>
              <p:spPr>
                <a:xfrm>
                  <a:off x="5154401" y="1951074"/>
                  <a:ext cx="359072" cy="215444"/>
                </a:xfrm>
                <a:prstGeom prst="rect">
                  <a:avLst/>
                </a:prstGeom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050" dirty="0">
                      <a:ln>
                        <a:solidFill>
                          <a:srgbClr val="33BEB4"/>
                        </a:solidFill>
                      </a:ln>
                      <a:solidFill>
                        <a:srgbClr val="87D437"/>
                      </a:solidFill>
                    </a:rPr>
                    <a:t>BHF</a:t>
                  </a:r>
                </a:p>
              </p:txBody>
            </p:sp>
          </p:grpSp>
          <p:grpSp>
            <p:nvGrpSpPr>
              <p:cNvPr id="44" name="Group 43"/>
              <p:cNvGrpSpPr/>
              <p:nvPr/>
            </p:nvGrpSpPr>
            <p:grpSpPr>
              <a:xfrm>
                <a:off x="6636426" y="988956"/>
                <a:ext cx="1015612" cy="946478"/>
                <a:chOff x="6636426" y="988956"/>
                <a:chExt cx="1015612" cy="946478"/>
              </a:xfrm>
            </p:grpSpPr>
            <p:grpSp>
              <p:nvGrpSpPr>
                <p:cNvPr id="45" name="Group 44"/>
                <p:cNvGrpSpPr/>
                <p:nvPr/>
              </p:nvGrpSpPr>
              <p:grpSpPr>
                <a:xfrm>
                  <a:off x="6636426" y="988956"/>
                  <a:ext cx="1015612" cy="946478"/>
                  <a:chOff x="6636426" y="988956"/>
                  <a:chExt cx="1015612" cy="946478"/>
                </a:xfrm>
              </p:grpSpPr>
              <p:sp>
                <p:nvSpPr>
                  <p:cNvPr id="47" name="Rectangle 46"/>
                  <p:cNvSpPr/>
                  <p:nvPr/>
                </p:nvSpPr>
                <p:spPr>
                  <a:xfrm>
                    <a:off x="6636426" y="988956"/>
                    <a:ext cx="1015612" cy="946478"/>
                  </a:xfrm>
                  <a:prstGeom prst="rect">
                    <a:avLst/>
                  </a:prstGeom>
                  <a:noFill/>
                  <a:ln w="6350">
                    <a:solidFill>
                      <a:srgbClr val="1F70C2"/>
                    </a:solidFill>
                    <a:prstDash val="lgDashDotDot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grpSp>
                <p:nvGrpSpPr>
                  <p:cNvPr id="48" name="Group 47"/>
                  <p:cNvGrpSpPr/>
                  <p:nvPr/>
                </p:nvGrpSpPr>
                <p:grpSpPr>
                  <a:xfrm>
                    <a:off x="6803570" y="1053076"/>
                    <a:ext cx="681325" cy="686087"/>
                    <a:chOff x="464062" y="1181963"/>
                    <a:chExt cx="681325" cy="686087"/>
                  </a:xfrm>
                </p:grpSpPr>
                <p:grpSp>
                  <p:nvGrpSpPr>
                    <p:cNvPr id="49" name="Group 48"/>
                    <p:cNvGrpSpPr/>
                    <p:nvPr/>
                  </p:nvGrpSpPr>
                  <p:grpSpPr>
                    <a:xfrm>
                      <a:off x="464062" y="1314259"/>
                      <a:ext cx="681325" cy="553791"/>
                      <a:chOff x="427138" y="1314259"/>
                      <a:chExt cx="681325" cy="553791"/>
                    </a:xfrm>
                  </p:grpSpPr>
                  <p:sp>
                    <p:nvSpPr>
                      <p:cNvPr id="51" name="Cloud 50"/>
                      <p:cNvSpPr/>
                      <p:nvPr/>
                    </p:nvSpPr>
                    <p:spPr>
                      <a:xfrm>
                        <a:off x="427138" y="1314259"/>
                        <a:ext cx="681325" cy="553791"/>
                      </a:xfrm>
                      <a:prstGeom prst="cloud">
                        <a:avLst/>
                      </a:prstGeom>
                      <a:solidFill>
                        <a:schemeClr val="bg1">
                          <a:lumMod val="85000"/>
                        </a:schemeClr>
                      </a:solidFill>
                      <a:ln w="3175">
                        <a:solidFill>
                          <a:schemeClr val="bg1">
                            <a:lumMod val="50000"/>
                            <a:alpha val="32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685800">
                          <a:defRPr/>
                        </a:pPr>
                        <a:endParaRPr lang="en-US" sz="750" dirty="0">
                          <a:solidFill>
                            <a:prstClr val="black"/>
                          </a:solidFill>
                          <a:latin typeface="+mj-lt"/>
                          <a:cs typeface="Arial" panose="020B0604020202020204" pitchFamily="34" charset="0"/>
                        </a:endParaRPr>
                      </a:p>
                    </p:txBody>
                  </p:sp>
                  <p:grpSp>
                    <p:nvGrpSpPr>
                      <p:cNvPr id="52" name="Group 51"/>
                      <p:cNvGrpSpPr/>
                      <p:nvPr/>
                    </p:nvGrpSpPr>
                    <p:grpSpPr>
                      <a:xfrm>
                        <a:off x="509985" y="1430870"/>
                        <a:ext cx="416682" cy="169277"/>
                        <a:chOff x="702370" y="1432858"/>
                        <a:chExt cx="416682" cy="169277"/>
                      </a:xfrm>
                    </p:grpSpPr>
                    <p:sp>
                      <p:nvSpPr>
                        <p:cNvPr id="56" name="TextBox 55"/>
                        <p:cNvSpPr txBox="1"/>
                        <p:nvPr/>
                      </p:nvSpPr>
                      <p:spPr>
                        <a:xfrm>
                          <a:off x="960890" y="1432858"/>
                          <a:ext cx="158162" cy="169277"/>
                        </a:xfrm>
                        <a:prstGeom prst="rect">
                          <a:avLst/>
                        </a:prstGeom>
                      </p:spPr>
                      <p:txBody>
                        <a:bodyPr wrap="none" lIns="0" tIns="0" rIns="0" bIns="0" rtlCol="0">
                          <a:spAutoFit/>
                        </a:bodyPr>
                        <a:lstStyle/>
                        <a:p>
                          <a:pPr algn="l"/>
                          <a:r>
                            <a:rPr lang="en-US" sz="825" dirty="0">
                              <a:solidFill>
                                <a:schemeClr val="tx2"/>
                              </a:solidFill>
                            </a:rPr>
                            <a:t>74</a:t>
                          </a:r>
                        </a:p>
                      </p:txBody>
                    </p:sp>
                    <p:pic>
                      <p:nvPicPr>
                        <p:cNvPr id="57" name="Picture 10" descr="Image result for VIRTUAL MACHINE LOGO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 cstate="email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BEBA8EAE-BF5A-486C-A8C5-ECC9F3942E4B}">
                              <a14:imgProps xmlns:a14="http://schemas.microsoft.com/office/drawing/2010/main">
                                <a14:imgLayer r:embed="rId7">
                                  <a14:imgEffect>
                                    <a14:artisticPaintStrokes/>
                                  </a14:imgEffect>
                                </a14:imgLayer>
                              </a14:imgProps>
                            </a:ex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02370" y="1442149"/>
                          <a:ext cx="310081" cy="150694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grpSp>
                  <p:grpSp>
                    <p:nvGrpSpPr>
                      <p:cNvPr id="53" name="Group 52"/>
                      <p:cNvGrpSpPr/>
                      <p:nvPr/>
                    </p:nvGrpSpPr>
                    <p:grpSpPr>
                      <a:xfrm>
                        <a:off x="569444" y="1620467"/>
                        <a:ext cx="357225" cy="187956"/>
                        <a:chOff x="761829" y="1622455"/>
                        <a:chExt cx="357225" cy="187956"/>
                      </a:xfrm>
                    </p:grpSpPr>
                    <p:pic>
                      <p:nvPicPr>
                        <p:cNvPr id="54" name="Picture 4" descr="Image result for load balancer icon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 cstate="email">
                          <a:extLs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61829" y="1622455"/>
                          <a:ext cx="202256" cy="187956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  <p:sp>
                      <p:nvSpPr>
                        <p:cNvPr id="55" name="TextBox 54"/>
                        <p:cNvSpPr txBox="1"/>
                        <p:nvPr/>
                      </p:nvSpPr>
                      <p:spPr>
                        <a:xfrm>
                          <a:off x="960891" y="1631795"/>
                          <a:ext cx="158163" cy="169277"/>
                        </a:xfrm>
                        <a:prstGeom prst="rect">
                          <a:avLst/>
                        </a:prstGeom>
                      </p:spPr>
                      <p:txBody>
                        <a:bodyPr wrap="none" lIns="0" tIns="0" rIns="0" bIns="0" rtlCol="0">
                          <a:spAutoFit/>
                        </a:bodyPr>
                        <a:lstStyle/>
                        <a:p>
                          <a:pPr algn="l"/>
                          <a:r>
                            <a:rPr lang="en-US" sz="825" dirty="0">
                              <a:solidFill>
                                <a:schemeClr val="tx2"/>
                              </a:solidFill>
                            </a:rPr>
                            <a:t>12</a:t>
                          </a:r>
                        </a:p>
                      </p:txBody>
                    </p:sp>
                  </p:grpSp>
                </p:grpSp>
                <p:pic>
                  <p:nvPicPr>
                    <p:cNvPr id="50" name="Picture 14" descr="Image result for AWS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1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709071" y="1181963"/>
                      <a:ext cx="215586" cy="128993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</p:grp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0E5CE040-C0D3-40BD-8063-A2DF101E8B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black">
                <a:xfrm>
                  <a:off x="6845573" y="1778353"/>
                  <a:ext cx="597318" cy="12819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87" name="Group 86"/>
            <p:cNvGrpSpPr/>
            <p:nvPr/>
          </p:nvGrpSpPr>
          <p:grpSpPr>
            <a:xfrm>
              <a:off x="6224415" y="1998781"/>
              <a:ext cx="3621310" cy="1889210"/>
              <a:chOff x="6504286" y="2032498"/>
              <a:chExt cx="4828413" cy="2518946"/>
            </a:xfrm>
          </p:grpSpPr>
          <p:grpSp>
            <p:nvGrpSpPr>
              <p:cNvPr id="88" name="Group 87"/>
              <p:cNvGrpSpPr/>
              <p:nvPr/>
            </p:nvGrpSpPr>
            <p:grpSpPr>
              <a:xfrm>
                <a:off x="6504286" y="2032498"/>
                <a:ext cx="4828413" cy="2518946"/>
                <a:chOff x="846026" y="2019845"/>
                <a:chExt cx="4828413" cy="2518946"/>
              </a:xfrm>
            </p:grpSpPr>
            <p:sp>
              <p:nvSpPr>
                <p:cNvPr id="90" name="Rectangle 89"/>
                <p:cNvSpPr/>
                <p:nvPr/>
              </p:nvSpPr>
              <p:spPr>
                <a:xfrm>
                  <a:off x="846026" y="2181908"/>
                  <a:ext cx="4828413" cy="235688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75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91" name="Rounded Rectangle 90"/>
                <p:cNvSpPr/>
                <p:nvPr/>
              </p:nvSpPr>
              <p:spPr>
                <a:xfrm>
                  <a:off x="1009874" y="2019845"/>
                  <a:ext cx="1829486" cy="279400"/>
                </a:xfrm>
                <a:prstGeom prst="roundRect">
                  <a:avLst/>
                </a:prstGeom>
                <a:solidFill>
                  <a:srgbClr val="0033A0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:r>
                    <a:rPr lang="en-US" sz="750" b="1" dirty="0">
                      <a:solidFill>
                        <a:prstClr val="white"/>
                      </a:solidFill>
                      <a:cs typeface="Arial" panose="020B0604020202020204" pitchFamily="34" charset="0"/>
                    </a:rPr>
                    <a:t>Equinix </a:t>
                  </a:r>
                  <a:r>
                    <a:rPr lang="en-US" sz="750" b="1" dirty="0" err="1">
                      <a:solidFill>
                        <a:prstClr val="white"/>
                      </a:solidFill>
                      <a:cs typeface="Arial" panose="020B0604020202020204" pitchFamily="34" charset="0"/>
                    </a:rPr>
                    <a:t>CoLo</a:t>
                  </a:r>
                  <a:r>
                    <a:rPr lang="en-US" sz="750" b="1" dirty="0">
                      <a:solidFill>
                        <a:prstClr val="white"/>
                      </a:solidFill>
                      <a:cs typeface="Arial" panose="020B0604020202020204" pitchFamily="34" charset="0"/>
                    </a:rPr>
                    <a:t> DC</a:t>
                  </a:r>
                </a:p>
              </p:txBody>
            </p:sp>
            <p:grpSp>
              <p:nvGrpSpPr>
                <p:cNvPr id="92" name="Group 91"/>
                <p:cNvGrpSpPr/>
                <p:nvPr/>
              </p:nvGrpSpPr>
              <p:grpSpPr>
                <a:xfrm>
                  <a:off x="1007281" y="2598640"/>
                  <a:ext cx="4567190" cy="733134"/>
                  <a:chOff x="1007281" y="2796760"/>
                  <a:chExt cx="4567190" cy="733134"/>
                </a:xfrm>
              </p:grpSpPr>
              <p:sp>
                <p:nvSpPr>
                  <p:cNvPr id="104" name="Rounded Rectangle 103"/>
                  <p:cNvSpPr/>
                  <p:nvPr/>
                </p:nvSpPr>
                <p:spPr>
                  <a:xfrm>
                    <a:off x="1007281" y="2796760"/>
                    <a:ext cx="4567190" cy="733134"/>
                  </a:xfrm>
                  <a:prstGeom prst="roundRect">
                    <a:avLst/>
                  </a:prstGeom>
                  <a:solidFill>
                    <a:srgbClr val="E1EAFF"/>
                  </a:solidFill>
                  <a:ln>
                    <a:solidFill>
                      <a:srgbClr val="0033A0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 dirty="0"/>
                  </a:p>
                </p:txBody>
              </p:sp>
              <p:grpSp>
                <p:nvGrpSpPr>
                  <p:cNvPr id="105" name="Group 104"/>
                  <p:cNvGrpSpPr/>
                  <p:nvPr/>
                </p:nvGrpSpPr>
                <p:grpSpPr>
                  <a:xfrm>
                    <a:off x="1861476" y="3262578"/>
                    <a:ext cx="1488468" cy="226711"/>
                    <a:chOff x="1991016" y="3110178"/>
                    <a:chExt cx="1488468" cy="226711"/>
                  </a:xfrm>
                </p:grpSpPr>
                <p:sp>
                  <p:nvSpPr>
                    <p:cNvPr id="115" name="Rectangle 114"/>
                    <p:cNvSpPr/>
                    <p:nvPr/>
                  </p:nvSpPr>
                  <p:spPr>
                    <a:xfrm>
                      <a:off x="2060059" y="3110178"/>
                      <a:ext cx="1419425" cy="226711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Firewall - Cisco ASA </a:t>
                      </a:r>
                    </a:p>
                    <a:p>
                      <a:pPr lvl="0" algn="ctr">
                        <a:defRPr/>
                      </a:pP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Firepower 4120 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pic>
                  <p:nvPicPr>
                    <p:cNvPr id="116" name="Picture 115"/>
                    <p:cNvPicPr>
                      <a:picLocks noChangeAspect="1"/>
                    </p:cNvPicPr>
                    <p:nvPr/>
                  </p:nvPicPr>
                  <p:blipFill>
                    <a:blip r:embed="rId13" cstate="email">
                      <a:clrChange>
                        <a:clrFrom>
                          <a:srgbClr val="FEFEFE"/>
                        </a:clrFrom>
                        <a:clrTo>
                          <a:srgbClr val="FEFEFE">
                            <a:alpha val="0"/>
                          </a:srgbClr>
                        </a:clrTo>
                      </a:clrChang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991016" y="3118427"/>
                      <a:ext cx="197064" cy="210212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06" name="Group 105"/>
                  <p:cNvGrpSpPr/>
                  <p:nvPr/>
                </p:nvGrpSpPr>
                <p:grpSpPr>
                  <a:xfrm>
                    <a:off x="3297665" y="2921496"/>
                    <a:ext cx="2117524" cy="372086"/>
                    <a:chOff x="3297665" y="2769096"/>
                    <a:chExt cx="2117524" cy="372086"/>
                  </a:xfrm>
                </p:grpSpPr>
                <p:sp>
                  <p:nvSpPr>
                    <p:cNvPr id="113" name="Rectangle 112"/>
                    <p:cNvSpPr/>
                    <p:nvPr/>
                  </p:nvSpPr>
                  <p:spPr>
                    <a:xfrm>
                      <a:off x="3510141" y="2841784"/>
                      <a:ext cx="1905048" cy="226711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fr-FR" sz="6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fr-FR" sz="600" b="1" dirty="0" err="1">
                          <a:solidFill>
                            <a:srgbClr val="000000"/>
                          </a:solidFill>
                        </a:rPr>
                        <a:t>Core</a:t>
                      </a:r>
                      <a:r>
                        <a:rPr lang="fr-FR" sz="600" b="1" dirty="0">
                          <a:solidFill>
                            <a:srgbClr val="000000"/>
                          </a:solidFill>
                        </a:rPr>
                        <a:t> Routers, VRF, BGP Endpoints - </a:t>
                      </a:r>
                      <a:r>
                        <a:rPr lang="fr-FR" sz="600" dirty="0">
                          <a:solidFill>
                            <a:srgbClr val="000000"/>
                          </a:solidFill>
                        </a:rPr>
                        <a:t>Cisco ASR 1001 - X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pic>
                  <p:nvPicPr>
                    <p:cNvPr id="114" name="Picture 4" descr="Image result for router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297665" y="2769096"/>
                      <a:ext cx="335549" cy="37208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grpSp>
                <p:nvGrpSpPr>
                  <p:cNvPr id="107" name="Group 106"/>
                  <p:cNvGrpSpPr/>
                  <p:nvPr/>
                </p:nvGrpSpPr>
                <p:grpSpPr>
                  <a:xfrm>
                    <a:off x="3486985" y="3250373"/>
                    <a:ext cx="936160" cy="254409"/>
                    <a:chOff x="3486985" y="3105593"/>
                    <a:chExt cx="936160" cy="254409"/>
                  </a:xfrm>
                </p:grpSpPr>
                <p:sp>
                  <p:nvSpPr>
                    <p:cNvPr id="111" name="Rectangle 110"/>
                    <p:cNvSpPr/>
                    <p:nvPr/>
                  </p:nvSpPr>
                  <p:spPr>
                    <a:xfrm>
                      <a:off x="3717862" y="3119444"/>
                      <a:ext cx="705283" cy="225066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NACL – </a:t>
                      </a:r>
                    </a:p>
                    <a:p>
                      <a:pPr lvl="0" algn="ctr">
                        <a:defRPr/>
                      </a:pP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Cisco ISE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pic>
                  <p:nvPicPr>
                    <p:cNvPr id="112" name="Picture 2" descr="Related image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5" cstate="email">
                      <a:clrChange>
                        <a:clrFrom>
                          <a:srgbClr val="FFFFFF"/>
                        </a:clrFrom>
                        <a:clrTo>
                          <a:srgbClr val="FFFFFF">
                            <a:alpha val="0"/>
                          </a:srgbClr>
                        </a:clrTo>
                      </a:clrChang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486985" y="3105593"/>
                      <a:ext cx="339212" cy="254409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grpSp>
                <p:nvGrpSpPr>
                  <p:cNvPr id="108" name="Group 107"/>
                  <p:cNvGrpSpPr/>
                  <p:nvPr/>
                </p:nvGrpSpPr>
                <p:grpSpPr>
                  <a:xfrm>
                    <a:off x="1071144" y="2911600"/>
                    <a:ext cx="2208115" cy="372086"/>
                    <a:chOff x="1071144" y="2759200"/>
                    <a:chExt cx="2208115" cy="372086"/>
                  </a:xfrm>
                </p:grpSpPr>
                <p:sp>
                  <p:nvSpPr>
                    <p:cNvPr id="109" name="Rectangle 108"/>
                    <p:cNvSpPr/>
                    <p:nvPr/>
                  </p:nvSpPr>
                  <p:spPr>
                    <a:xfrm>
                      <a:off x="1257325" y="2840986"/>
                      <a:ext cx="2021934" cy="223754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WLAN, LAN Switches &amp; Routers -</a:t>
                      </a:r>
                    </a:p>
                    <a:p>
                      <a:pPr lvl="0" algn="ctr">
                        <a:defRPr/>
                      </a:pP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Meraki AP, MX &amp; MS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pic>
                  <p:nvPicPr>
                    <p:cNvPr id="110" name="Picture 4" descr="Image result for router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1144" y="2759200"/>
                      <a:ext cx="335549" cy="37208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</p:grpSp>
            <p:grpSp>
              <p:nvGrpSpPr>
                <p:cNvPr id="93" name="Group 92"/>
                <p:cNvGrpSpPr/>
                <p:nvPr/>
              </p:nvGrpSpPr>
              <p:grpSpPr>
                <a:xfrm>
                  <a:off x="909387" y="2373443"/>
                  <a:ext cx="4714827" cy="2122357"/>
                  <a:chOff x="909387" y="2373443"/>
                  <a:chExt cx="4714827" cy="2122357"/>
                </a:xfrm>
              </p:grpSpPr>
              <p:grpSp>
                <p:nvGrpSpPr>
                  <p:cNvPr id="98" name="Group 97"/>
                  <p:cNvGrpSpPr/>
                  <p:nvPr/>
                </p:nvGrpSpPr>
                <p:grpSpPr>
                  <a:xfrm>
                    <a:off x="1280753" y="3466902"/>
                    <a:ext cx="1889256" cy="738411"/>
                    <a:chOff x="1315436" y="3379272"/>
                    <a:chExt cx="2078182" cy="738411"/>
                  </a:xfrm>
                </p:grpSpPr>
                <p:sp>
                  <p:nvSpPr>
                    <p:cNvPr id="101" name="Rectangle 100"/>
                    <p:cNvSpPr/>
                    <p:nvPr/>
                  </p:nvSpPr>
                  <p:spPr>
                    <a:xfrm>
                      <a:off x="1315436" y="3379272"/>
                      <a:ext cx="2078182" cy="249383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WAN Connectivity to </a:t>
                      </a:r>
                    </a:p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Cloud/SaaS Providers - </a:t>
                      </a: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ECX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02" name="Rectangle 101"/>
                    <p:cNvSpPr/>
                    <p:nvPr/>
                  </p:nvSpPr>
                  <p:spPr>
                    <a:xfrm>
                      <a:off x="1315436" y="3684232"/>
                      <a:ext cx="2078182" cy="249383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Private B2B MPLS circuit - </a:t>
                      </a: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CenturyLink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03" name="Rectangle 102"/>
                    <p:cNvSpPr/>
                    <p:nvPr/>
                  </p:nvSpPr>
                  <p:spPr>
                    <a:xfrm>
                      <a:off x="1315436" y="3989710"/>
                      <a:ext cx="2078182" cy="127973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Internet Circuits - </a:t>
                      </a: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CenturyLink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sp>
                <p:nvSpPr>
                  <p:cNvPr id="99" name="Rounded Rectangle 98"/>
                  <p:cNvSpPr/>
                  <p:nvPr/>
                </p:nvSpPr>
                <p:spPr>
                  <a:xfrm>
                    <a:off x="909387" y="2373443"/>
                    <a:ext cx="4714827" cy="2122357"/>
                  </a:xfrm>
                  <a:prstGeom prst="roundRect">
                    <a:avLst/>
                  </a:prstGeom>
                  <a:noFill/>
                  <a:ln w="1270">
                    <a:solidFill>
                      <a:srgbClr val="0033A0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00" name="Rectangle 99"/>
                  <p:cNvSpPr/>
                  <p:nvPr/>
                </p:nvSpPr>
                <p:spPr>
                  <a:xfrm>
                    <a:off x="2322172" y="4276819"/>
                    <a:ext cx="1889256" cy="14077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it-IT" sz="600" b="1" dirty="0">
                        <a:solidFill>
                          <a:srgbClr val="000000"/>
                        </a:solidFill>
                      </a:rPr>
                      <a:t>Equinix Colo- </a:t>
                    </a:r>
                    <a:r>
                      <a:rPr lang="it-IT" sz="600" dirty="0">
                        <a:solidFill>
                          <a:srgbClr val="000000"/>
                        </a:solidFill>
                      </a:rPr>
                      <a:t>ECX CoLo DC</a:t>
                    </a:r>
                  </a:p>
                </p:txBody>
              </p:sp>
            </p:grpSp>
            <p:sp>
              <p:nvSpPr>
                <p:cNvPr id="94" name="TextBox 93"/>
                <p:cNvSpPr txBox="1"/>
                <p:nvPr/>
              </p:nvSpPr>
              <p:spPr>
                <a:xfrm>
                  <a:off x="1262662" y="2611484"/>
                  <a:ext cx="961801" cy="153888"/>
                </a:xfrm>
                <a:prstGeom prst="rect">
                  <a:avLst/>
                </a:prstGeom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750" b="1" dirty="0">
                      <a:solidFill>
                        <a:srgbClr val="002060"/>
                      </a:solidFill>
                    </a:rPr>
                    <a:t>Cognizant Rack</a:t>
                  </a:r>
                </a:p>
              </p:txBody>
            </p:sp>
            <p:grpSp>
              <p:nvGrpSpPr>
                <p:cNvPr id="95" name="Group 94"/>
                <p:cNvGrpSpPr/>
                <p:nvPr/>
              </p:nvGrpSpPr>
              <p:grpSpPr>
                <a:xfrm>
                  <a:off x="3420738" y="3581202"/>
                  <a:ext cx="1932298" cy="398380"/>
                  <a:chOff x="3420738" y="3581202"/>
                  <a:chExt cx="1932298" cy="398380"/>
                </a:xfrm>
              </p:grpSpPr>
              <p:sp>
                <p:nvSpPr>
                  <p:cNvPr id="96" name="Rectangle 95"/>
                  <p:cNvSpPr/>
                  <p:nvPr/>
                </p:nvSpPr>
                <p:spPr>
                  <a:xfrm>
                    <a:off x="3420738" y="3810647"/>
                    <a:ext cx="1932298" cy="168935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DHCP - </a:t>
                    </a:r>
                    <a:r>
                      <a:rPr lang="en-US" sz="600" dirty="0" err="1">
                        <a:solidFill>
                          <a:srgbClr val="000000"/>
                        </a:solidFill>
                      </a:rPr>
                      <a:t>Infoblox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97" name="Rectangle 96"/>
                  <p:cNvSpPr/>
                  <p:nvPr/>
                </p:nvSpPr>
                <p:spPr>
                  <a:xfrm>
                    <a:off x="3422813" y="3581202"/>
                    <a:ext cx="1920697" cy="170332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Cabling - </a:t>
                    </a:r>
                    <a:r>
                      <a:rPr lang="en-US" sz="600" dirty="0" err="1">
                        <a:solidFill>
                          <a:srgbClr val="000000"/>
                        </a:solidFill>
                      </a:rPr>
                      <a:t>Comnet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</p:grpSp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0E5CE040-C0D3-40BD-8063-A2DF101E8B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black">
              <a:xfrm>
                <a:off x="10374188" y="2426135"/>
                <a:ext cx="597318" cy="159899"/>
              </a:xfrm>
              <a:prstGeom prst="rect">
                <a:avLst/>
              </a:prstGeom>
            </p:spPr>
          </p:pic>
        </p:grpSp>
        <p:sp>
          <p:nvSpPr>
            <p:cNvPr id="117" name="Rectangle 116"/>
            <p:cNvSpPr/>
            <p:nvPr/>
          </p:nvSpPr>
          <p:spPr>
            <a:xfrm>
              <a:off x="1969896" y="1119231"/>
              <a:ext cx="3623488" cy="829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75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18" name="Rounded Rectangle 117"/>
            <p:cNvSpPr/>
            <p:nvPr/>
          </p:nvSpPr>
          <p:spPr>
            <a:xfrm>
              <a:off x="2101661" y="984638"/>
              <a:ext cx="1115279" cy="209550"/>
            </a:xfrm>
            <a:prstGeom prst="roundRect">
              <a:avLst/>
            </a:prstGeom>
            <a:solidFill>
              <a:srgbClr val="0033A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750" b="1" dirty="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rPr>
                <a:t>IaaS</a:t>
              </a:r>
            </a:p>
          </p:txBody>
        </p:sp>
        <p:grpSp>
          <p:nvGrpSpPr>
            <p:cNvPr id="119" name="Group 118"/>
            <p:cNvGrpSpPr/>
            <p:nvPr/>
          </p:nvGrpSpPr>
          <p:grpSpPr>
            <a:xfrm>
              <a:off x="2056321" y="1210147"/>
              <a:ext cx="1487633" cy="709859"/>
              <a:chOff x="1048845" y="1025640"/>
              <a:chExt cx="1983510" cy="946478"/>
            </a:xfrm>
          </p:grpSpPr>
          <p:grpSp>
            <p:nvGrpSpPr>
              <p:cNvPr id="120" name="Group 119"/>
              <p:cNvGrpSpPr/>
              <p:nvPr/>
            </p:nvGrpSpPr>
            <p:grpSpPr>
              <a:xfrm>
                <a:off x="1863921" y="1046456"/>
                <a:ext cx="1147079" cy="734714"/>
                <a:chOff x="3150012" y="1134528"/>
                <a:chExt cx="1147079" cy="734714"/>
              </a:xfrm>
            </p:grpSpPr>
            <p:sp>
              <p:nvSpPr>
                <p:cNvPr id="133" name="Cloud 132"/>
                <p:cNvSpPr/>
                <p:nvPr/>
              </p:nvSpPr>
              <p:spPr>
                <a:xfrm>
                  <a:off x="3150012" y="1320602"/>
                  <a:ext cx="1147079" cy="548640"/>
                </a:xfrm>
                <a:prstGeom prst="cloud">
                  <a:avLst/>
                </a:prstGeom>
                <a:solidFill>
                  <a:srgbClr val="FF8F1C"/>
                </a:solidFill>
                <a:ln w="3175">
                  <a:solidFill>
                    <a:schemeClr val="bg1">
                      <a:lumMod val="50000"/>
                      <a:alpha val="32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r>
                    <a:rPr lang="en-US" sz="750" dirty="0">
                      <a:solidFill>
                        <a:prstClr val="black"/>
                      </a:solidFill>
                      <a:latin typeface="+mj-lt"/>
                      <a:cs typeface="Arial" panose="020B0604020202020204" pitchFamily="34" charset="0"/>
                    </a:rPr>
                    <a:t>IBM </a:t>
                  </a:r>
                  <a:r>
                    <a:rPr lang="en-US" sz="750" dirty="0" err="1">
                      <a:solidFill>
                        <a:prstClr val="black"/>
                      </a:solidFill>
                      <a:latin typeface="+mj-lt"/>
                      <a:cs typeface="Arial" panose="020B0604020202020204" pitchFamily="34" charset="0"/>
                    </a:rPr>
                    <a:t>Softlayer</a:t>
                  </a:r>
                  <a:endParaRPr lang="en-US" sz="750" dirty="0">
                    <a:solidFill>
                      <a:prstClr val="black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134" name="Picture 6" descr="Image result for IBM"/>
                <p:cNvPicPr>
                  <a:picLocks noChangeAspect="1" noChangeArrowheads="1"/>
                </p:cNvPicPr>
                <p:nvPr/>
              </p:nvPicPr>
              <p:blipFill>
                <a:blip r:embed="rId1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576802" y="1134528"/>
                  <a:ext cx="296139" cy="14790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21" name="Group 120"/>
              <p:cNvGrpSpPr/>
              <p:nvPr/>
            </p:nvGrpSpPr>
            <p:grpSpPr>
              <a:xfrm>
                <a:off x="1114333" y="1089760"/>
                <a:ext cx="681325" cy="686087"/>
                <a:chOff x="464062" y="1181963"/>
                <a:chExt cx="681325" cy="686087"/>
              </a:xfrm>
            </p:grpSpPr>
            <p:grpSp>
              <p:nvGrpSpPr>
                <p:cNvPr id="124" name="Group 123"/>
                <p:cNvGrpSpPr/>
                <p:nvPr/>
              </p:nvGrpSpPr>
              <p:grpSpPr>
                <a:xfrm>
                  <a:off x="464062" y="1314259"/>
                  <a:ext cx="681325" cy="553791"/>
                  <a:chOff x="427138" y="1314259"/>
                  <a:chExt cx="681325" cy="553791"/>
                </a:xfrm>
              </p:grpSpPr>
              <p:sp>
                <p:nvSpPr>
                  <p:cNvPr id="126" name="Cloud 125"/>
                  <p:cNvSpPr/>
                  <p:nvPr/>
                </p:nvSpPr>
                <p:spPr>
                  <a:xfrm>
                    <a:off x="427138" y="1314259"/>
                    <a:ext cx="681325" cy="553791"/>
                  </a:xfrm>
                  <a:prstGeom prst="cloud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3175">
                    <a:solidFill>
                      <a:schemeClr val="bg1">
                        <a:lumMod val="50000"/>
                        <a:alpha val="32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800">
                      <a:defRPr/>
                    </a:pPr>
                    <a:endParaRPr lang="en-US" sz="750" dirty="0">
                      <a:solidFill>
                        <a:prstClr val="black"/>
                      </a:solidFill>
                      <a:latin typeface="+mj-lt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27" name="Group 126"/>
                  <p:cNvGrpSpPr/>
                  <p:nvPr/>
                </p:nvGrpSpPr>
                <p:grpSpPr>
                  <a:xfrm>
                    <a:off x="509985" y="1430870"/>
                    <a:ext cx="416682" cy="169277"/>
                    <a:chOff x="702370" y="1432858"/>
                    <a:chExt cx="416682" cy="169277"/>
                  </a:xfrm>
                </p:grpSpPr>
                <p:sp>
                  <p:nvSpPr>
                    <p:cNvPr id="131" name="TextBox 130"/>
                    <p:cNvSpPr txBox="1"/>
                    <p:nvPr/>
                  </p:nvSpPr>
                  <p:spPr>
                    <a:xfrm>
                      <a:off x="960890" y="1432858"/>
                      <a:ext cx="158162" cy="169277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l"/>
                      <a:r>
                        <a:rPr lang="en-US" sz="825" dirty="0">
                          <a:solidFill>
                            <a:schemeClr val="tx2"/>
                          </a:solidFill>
                        </a:rPr>
                        <a:t>74</a:t>
                      </a:r>
                    </a:p>
                  </p:txBody>
                </p:sp>
                <p:pic>
                  <p:nvPicPr>
                    <p:cNvPr id="132" name="Picture 10" descr="Image result for VIRTUAL MACHINE LOGO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 cstate="email">
                      <a:clrChange>
                        <a:clrFrom>
                          <a:srgbClr val="FFFFFF"/>
                        </a:clrFrom>
                        <a:clrTo>
                          <a:srgbClr val="FFFFFF">
                            <a:alpha val="0"/>
                          </a:srgbClr>
                        </a:clrTo>
                      </a:clrChange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artisticPaintStrokes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702370" y="1442149"/>
                      <a:ext cx="310081" cy="150694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grpSp>
                <p:nvGrpSpPr>
                  <p:cNvPr id="128" name="Group 127"/>
                  <p:cNvGrpSpPr/>
                  <p:nvPr/>
                </p:nvGrpSpPr>
                <p:grpSpPr>
                  <a:xfrm>
                    <a:off x="569444" y="1620467"/>
                    <a:ext cx="357225" cy="187956"/>
                    <a:chOff x="761829" y="1622455"/>
                    <a:chExt cx="357225" cy="187956"/>
                  </a:xfrm>
                </p:grpSpPr>
                <p:pic>
                  <p:nvPicPr>
                    <p:cNvPr id="129" name="Picture 4" descr="Image result for load balancer icon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8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761829" y="1622455"/>
                      <a:ext cx="202256" cy="1879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30" name="TextBox 129"/>
                    <p:cNvSpPr txBox="1"/>
                    <p:nvPr/>
                  </p:nvSpPr>
                  <p:spPr>
                    <a:xfrm>
                      <a:off x="960891" y="1631795"/>
                      <a:ext cx="158163" cy="169277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l"/>
                      <a:r>
                        <a:rPr lang="en-US" sz="825" dirty="0">
                          <a:solidFill>
                            <a:schemeClr val="tx2"/>
                          </a:solidFill>
                        </a:rPr>
                        <a:t>12</a:t>
                      </a:r>
                    </a:p>
                  </p:txBody>
                </p:sp>
              </p:grpSp>
            </p:grpSp>
            <p:pic>
              <p:nvPicPr>
                <p:cNvPr id="125" name="Picture 14" descr="Image result for AWS"/>
                <p:cNvPicPr>
                  <a:picLocks noChangeAspect="1" noChangeArrowheads="1"/>
                </p:cNvPicPr>
                <p:nvPr/>
              </p:nvPicPr>
              <p:blipFill>
                <a:blip r:embed="rId11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09071" y="1181963"/>
                  <a:ext cx="215586" cy="12899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22" name="Rectangle 121"/>
              <p:cNvSpPr/>
              <p:nvPr/>
            </p:nvSpPr>
            <p:spPr>
              <a:xfrm>
                <a:off x="1048845" y="1025640"/>
                <a:ext cx="1983510" cy="946478"/>
              </a:xfrm>
              <a:prstGeom prst="rect">
                <a:avLst/>
              </a:prstGeom>
              <a:noFill/>
              <a:ln w="6350">
                <a:solidFill>
                  <a:srgbClr val="1F70C2"/>
                </a:solidFill>
                <a:prstDash val="lgDashDot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pic>
            <p:nvPicPr>
              <p:cNvPr id="123" name="Picture 6" descr="Image result for IBM"/>
              <p:cNvPicPr>
                <a:picLocks noChangeAspect="1" noChangeArrowheads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92089" y="1799110"/>
                <a:ext cx="296139" cy="1479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5" name="Group 134"/>
            <p:cNvGrpSpPr/>
            <p:nvPr/>
          </p:nvGrpSpPr>
          <p:grpSpPr>
            <a:xfrm>
              <a:off x="3591806" y="1200407"/>
              <a:ext cx="1479372" cy="794682"/>
              <a:chOff x="3005669" y="1183805"/>
              <a:chExt cx="1972496" cy="1059576"/>
            </a:xfrm>
          </p:grpSpPr>
          <p:grpSp>
            <p:nvGrpSpPr>
              <p:cNvPr id="136" name="Group 135"/>
              <p:cNvGrpSpPr/>
              <p:nvPr/>
            </p:nvGrpSpPr>
            <p:grpSpPr>
              <a:xfrm>
                <a:off x="3047204" y="1183805"/>
                <a:ext cx="1079885" cy="786456"/>
                <a:chOff x="3047204" y="1012654"/>
                <a:chExt cx="1079885" cy="786456"/>
              </a:xfrm>
            </p:grpSpPr>
            <p:pic>
              <p:nvPicPr>
                <p:cNvPr id="145" name="Picture 144"/>
                <p:cNvPicPr>
                  <a:picLocks noChangeAspect="1"/>
                </p:cNvPicPr>
                <p:nvPr/>
              </p:nvPicPr>
              <p:blipFill>
                <a:blip r:embed="rId5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23871" y="1012654"/>
                  <a:ext cx="526550" cy="210725"/>
                </a:xfrm>
                <a:prstGeom prst="rect">
                  <a:avLst/>
                </a:prstGeom>
              </p:spPr>
            </p:pic>
            <p:grpSp>
              <p:nvGrpSpPr>
                <p:cNvPr id="146" name="Group 145"/>
                <p:cNvGrpSpPr/>
                <p:nvPr/>
              </p:nvGrpSpPr>
              <p:grpSpPr>
                <a:xfrm>
                  <a:off x="3047204" y="1216650"/>
                  <a:ext cx="1079885" cy="582460"/>
                  <a:chOff x="3047204" y="1216650"/>
                  <a:chExt cx="1079885" cy="582460"/>
                </a:xfrm>
              </p:grpSpPr>
              <p:sp>
                <p:nvSpPr>
                  <p:cNvPr id="147" name="Cloud 146"/>
                  <p:cNvSpPr/>
                  <p:nvPr/>
                </p:nvSpPr>
                <p:spPr>
                  <a:xfrm>
                    <a:off x="3047204" y="1216650"/>
                    <a:ext cx="1079885" cy="582460"/>
                  </a:xfrm>
                  <a:prstGeom prst="cloud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3175">
                    <a:solidFill>
                      <a:schemeClr val="bg1">
                        <a:lumMod val="50000"/>
                        <a:alpha val="32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800">
                      <a:defRPr/>
                    </a:pPr>
                    <a:endParaRPr lang="en-US" sz="750" dirty="0">
                      <a:solidFill>
                        <a:prstClr val="black"/>
                      </a:solidFill>
                      <a:latin typeface="+mj-lt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48" name="Group 147"/>
                  <p:cNvGrpSpPr/>
                  <p:nvPr/>
                </p:nvGrpSpPr>
                <p:grpSpPr>
                  <a:xfrm>
                    <a:off x="3091488" y="1316079"/>
                    <a:ext cx="416173" cy="169276"/>
                    <a:chOff x="1881759" y="1405570"/>
                    <a:chExt cx="416173" cy="173763"/>
                  </a:xfrm>
                </p:grpSpPr>
                <p:sp>
                  <p:nvSpPr>
                    <p:cNvPr id="156" name="TextBox 155"/>
                    <p:cNvSpPr txBox="1"/>
                    <p:nvPr/>
                  </p:nvSpPr>
                  <p:spPr>
                    <a:xfrm>
                      <a:off x="2139769" y="1405570"/>
                      <a:ext cx="158163" cy="173763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l"/>
                      <a:r>
                        <a:rPr lang="en-US" sz="825" dirty="0">
                          <a:solidFill>
                            <a:schemeClr val="tx2"/>
                          </a:solidFill>
                        </a:rPr>
                        <a:t>78</a:t>
                      </a:r>
                    </a:p>
                  </p:txBody>
                </p:sp>
                <p:pic>
                  <p:nvPicPr>
                    <p:cNvPr id="157" name="Picture 10" descr="Image result for VIRTUAL MACHINE LOGO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 cstate="email">
                      <a:clrChange>
                        <a:clrFrom>
                          <a:srgbClr val="FFFFFF"/>
                        </a:clrFrom>
                        <a:clrTo>
                          <a:srgbClr val="FFFFFF">
                            <a:alpha val="0"/>
                          </a:srgbClr>
                        </a:clrTo>
                      </a:clrChange>
                      <a:extLst>
                        <a:ext uri="{BEBA8EAE-BF5A-486C-A8C5-ECC9F3942E4B}">
                          <a14:imgProps xmlns:a14="http://schemas.microsoft.com/office/drawing/2010/main">
                            <a14:imgLayer r:embed="rId7">
                              <a14:imgEffect>
                                <a14:artisticPaintStrokes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881759" y="1414861"/>
                      <a:ext cx="310081" cy="150694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grpSp>
                <p:nvGrpSpPr>
                  <p:cNvPr id="149" name="Group 148"/>
                  <p:cNvGrpSpPr/>
                  <p:nvPr/>
                </p:nvGrpSpPr>
                <p:grpSpPr>
                  <a:xfrm>
                    <a:off x="3602217" y="1306981"/>
                    <a:ext cx="356714" cy="183103"/>
                    <a:chOff x="1941218" y="1602934"/>
                    <a:chExt cx="356714" cy="187956"/>
                  </a:xfrm>
                </p:grpSpPr>
                <p:pic>
                  <p:nvPicPr>
                    <p:cNvPr id="154" name="Picture 4" descr="Image result for load balancer icon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8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941218" y="1602934"/>
                      <a:ext cx="202256" cy="1879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55" name="TextBox 154"/>
                    <p:cNvSpPr txBox="1"/>
                    <p:nvPr/>
                  </p:nvSpPr>
                  <p:spPr>
                    <a:xfrm>
                      <a:off x="2139770" y="1612274"/>
                      <a:ext cx="158162" cy="173764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l"/>
                      <a:r>
                        <a:rPr lang="en-US" sz="825" dirty="0">
                          <a:solidFill>
                            <a:schemeClr val="tx2"/>
                          </a:solidFill>
                        </a:rPr>
                        <a:t>12</a:t>
                      </a:r>
                    </a:p>
                  </p:txBody>
                </p:sp>
              </p:grpSp>
              <p:grpSp>
                <p:nvGrpSpPr>
                  <p:cNvPr id="150" name="Group 149"/>
                  <p:cNvGrpSpPr/>
                  <p:nvPr/>
                </p:nvGrpSpPr>
                <p:grpSpPr>
                  <a:xfrm>
                    <a:off x="3621913" y="1503435"/>
                    <a:ext cx="342420" cy="177417"/>
                    <a:chOff x="2508377" y="1413976"/>
                    <a:chExt cx="342420" cy="182119"/>
                  </a:xfrm>
                </p:grpSpPr>
                <p:pic>
                  <p:nvPicPr>
                    <p:cNvPr id="152" name="Picture 151"/>
                    <p:cNvPicPr>
                      <a:picLocks noChangeAspect="1"/>
                    </p:cNvPicPr>
                    <p:nvPr/>
                  </p:nvPicPr>
                  <p:blipFill>
                    <a:blip r:embed="rId9" cstate="email">
                      <a:clrChange>
                        <a:clrFrom>
                          <a:srgbClr val="FEFEFE"/>
                        </a:clrFrom>
                        <a:clrTo>
                          <a:srgbClr val="FEFEFE">
                            <a:alpha val="0"/>
                          </a:srgbClr>
                        </a:clrTo>
                      </a:clrChang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508377" y="1413976"/>
                      <a:ext cx="162863" cy="178333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53" name="TextBox 152"/>
                    <p:cNvSpPr txBox="1"/>
                    <p:nvPr/>
                  </p:nvSpPr>
                  <p:spPr>
                    <a:xfrm>
                      <a:off x="2771714" y="1422332"/>
                      <a:ext cx="79083" cy="173763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l"/>
                      <a:r>
                        <a:rPr lang="en-US" sz="825" dirty="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</p:txBody>
                </p:sp>
              </p:grpSp>
              <p:sp>
                <p:nvSpPr>
                  <p:cNvPr id="151" name="Rounded Rectangle 150"/>
                  <p:cNvSpPr/>
                  <p:nvPr/>
                </p:nvSpPr>
                <p:spPr>
                  <a:xfrm>
                    <a:off x="3071644" y="1532327"/>
                    <a:ext cx="630934" cy="171314"/>
                  </a:xfrm>
                  <a:prstGeom prst="roundRect">
                    <a:avLst/>
                  </a:prstGeom>
                  <a:noFill/>
                  <a:ln>
                    <a:noFill/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85800">
                      <a:defRPr/>
                    </a:pPr>
                    <a:r>
                      <a:rPr lang="en-US" sz="600" b="1" dirty="0">
                        <a:solidFill>
                          <a:prstClr val="black"/>
                        </a:solidFill>
                        <a:latin typeface="Arial" panose="020B0604020202020204"/>
                        <a:cs typeface="Arial" panose="020B0604020202020204" pitchFamily="34" charset="0"/>
                      </a:rPr>
                      <a:t>MS DNS</a:t>
                    </a:r>
                    <a:endParaRPr lang="en-US" sz="150" dirty="0">
                      <a:solidFill>
                        <a:prstClr val="black"/>
                      </a:solidFill>
                      <a:latin typeface="Arial" panose="020B0604020202020204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37" name="Rectangle 136"/>
              <p:cNvSpPr/>
              <p:nvPr/>
            </p:nvSpPr>
            <p:spPr>
              <a:xfrm>
                <a:off x="3005669" y="1196558"/>
                <a:ext cx="1972496" cy="946478"/>
              </a:xfrm>
              <a:prstGeom prst="rect">
                <a:avLst/>
              </a:prstGeom>
              <a:noFill/>
              <a:ln w="6350">
                <a:solidFill>
                  <a:srgbClr val="1F649E"/>
                </a:solidFill>
                <a:prstDash val="lgDashDot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pic>
            <p:nvPicPr>
              <p:cNvPr id="138" name="Picture 16" descr="Image result for PCM systems ltd logo"/>
              <p:cNvPicPr>
                <a:picLocks noChangeAspect="1" noChangeArrowheads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73617" y="1907501"/>
                <a:ext cx="369957" cy="3358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39" name="Group 138"/>
              <p:cNvGrpSpPr/>
              <p:nvPr/>
            </p:nvGrpSpPr>
            <p:grpSpPr>
              <a:xfrm>
                <a:off x="4339043" y="1248139"/>
                <a:ext cx="535821" cy="817585"/>
                <a:chOff x="4254778" y="940022"/>
                <a:chExt cx="798718" cy="1161103"/>
              </a:xfrm>
            </p:grpSpPr>
            <p:grpSp>
              <p:nvGrpSpPr>
                <p:cNvPr id="140" name="Group 139"/>
                <p:cNvGrpSpPr/>
                <p:nvPr/>
              </p:nvGrpSpPr>
              <p:grpSpPr>
                <a:xfrm>
                  <a:off x="4294797" y="940022"/>
                  <a:ext cx="718681" cy="702547"/>
                  <a:chOff x="3733431" y="1028120"/>
                  <a:chExt cx="718681" cy="702547"/>
                </a:xfrm>
              </p:grpSpPr>
              <p:pic>
                <p:nvPicPr>
                  <p:cNvPr id="143" name="Picture 12" descr="Image result for ZABBIX"/>
                  <p:cNvPicPr>
                    <a:picLocks noChangeAspect="1" noChangeArrowheads="1"/>
                  </p:cNvPicPr>
                  <p:nvPr/>
                </p:nvPicPr>
                <p:blipFill>
                  <a:blip r:embed="rId2" cstate="email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733431" y="1028120"/>
                    <a:ext cx="718681" cy="40425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44" name="Picture 2" descr="Image result for zabbix"/>
                  <p:cNvPicPr>
                    <a:picLocks noChangeAspect="1" noChangeArrowheads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766392" y="1328701"/>
                    <a:ext cx="652759" cy="40196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141" name="Rectangle 140"/>
                <p:cNvSpPr/>
                <p:nvPr/>
              </p:nvSpPr>
              <p:spPr>
                <a:xfrm>
                  <a:off x="4254778" y="1022294"/>
                  <a:ext cx="798718" cy="946478"/>
                </a:xfrm>
                <a:prstGeom prst="rect">
                  <a:avLst/>
                </a:prstGeom>
                <a:noFill/>
                <a:ln w="6350">
                  <a:solidFill>
                    <a:srgbClr val="1F649E"/>
                  </a:solidFill>
                  <a:prstDash val="lgDashDot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pic>
              <p:nvPicPr>
                <p:cNvPr id="142" name="Picture 4" descr="Image result for HCL"/>
                <p:cNvPicPr>
                  <a:picLocks noChangeAspect="1" noChangeArrowheads="1"/>
                </p:cNvPicPr>
                <p:nvPr/>
              </p:nvPicPr>
              <p:blipFill>
                <a:blip r:embed="rId4" cstate="email">
                  <a:clrChange>
                    <a:clrFrom>
                      <a:srgbClr val="FEFEFE"/>
                    </a:clrFrom>
                    <a:clrTo>
                      <a:srgbClr val="FEFEFE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46846" y="1686542"/>
                  <a:ext cx="414583" cy="41458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158" name="Group 157"/>
            <p:cNvGrpSpPr/>
            <p:nvPr/>
          </p:nvGrpSpPr>
          <p:grpSpPr>
            <a:xfrm>
              <a:off x="5120294" y="1206470"/>
              <a:ext cx="415639" cy="710500"/>
              <a:chOff x="5043653" y="1191889"/>
              <a:chExt cx="554185" cy="947333"/>
            </a:xfrm>
          </p:grpSpPr>
          <p:pic>
            <p:nvPicPr>
              <p:cNvPr id="159" name="Picture 4" descr="Image result for openshift"/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54401" y="1350496"/>
                <a:ext cx="369335" cy="4689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0" name="Rectangle 159"/>
              <p:cNvSpPr/>
              <p:nvPr/>
            </p:nvSpPr>
            <p:spPr>
              <a:xfrm>
                <a:off x="5043653" y="1191889"/>
                <a:ext cx="554185" cy="946478"/>
              </a:xfrm>
              <a:prstGeom prst="rect">
                <a:avLst/>
              </a:prstGeom>
              <a:noFill/>
              <a:ln w="6350">
                <a:solidFill>
                  <a:srgbClr val="1F649E"/>
                </a:solidFill>
                <a:prstDash val="lgDashDot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161" name="TextBox 160"/>
              <p:cNvSpPr txBox="1"/>
              <p:nvPr/>
            </p:nvSpPr>
            <p:spPr>
              <a:xfrm>
                <a:off x="5154401" y="1923778"/>
                <a:ext cx="359072" cy="215444"/>
              </a:xfrm>
              <a:prstGeom prst="rect">
                <a:avLst/>
              </a:prstGeom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1050" dirty="0">
                    <a:ln>
                      <a:solidFill>
                        <a:srgbClr val="33BEB4"/>
                      </a:solidFill>
                    </a:ln>
                    <a:solidFill>
                      <a:srgbClr val="87D437"/>
                    </a:solidFill>
                  </a:rPr>
                  <a:t>BHF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1961795" y="1998134"/>
              <a:ext cx="3621310" cy="1889210"/>
              <a:chOff x="846026" y="2019845"/>
              <a:chExt cx="4828413" cy="2518946"/>
            </a:xfrm>
          </p:grpSpPr>
          <p:sp>
            <p:nvSpPr>
              <p:cNvPr id="163" name="Rectangle 162"/>
              <p:cNvSpPr/>
              <p:nvPr/>
            </p:nvSpPr>
            <p:spPr>
              <a:xfrm>
                <a:off x="846026" y="2181908"/>
                <a:ext cx="4828413" cy="2356883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75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164" name="Rounded Rectangle 163"/>
              <p:cNvSpPr/>
              <p:nvPr/>
            </p:nvSpPr>
            <p:spPr>
              <a:xfrm>
                <a:off x="1009874" y="2019845"/>
                <a:ext cx="1829486" cy="279400"/>
              </a:xfrm>
              <a:prstGeom prst="roundRect">
                <a:avLst/>
              </a:prstGeom>
              <a:solidFill>
                <a:srgbClr val="0033A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>
                  <a:defRPr/>
                </a:pPr>
                <a:r>
                  <a:rPr lang="en-US" sz="750" b="1" dirty="0">
                    <a:solidFill>
                      <a:prstClr val="white"/>
                    </a:solidFill>
                    <a:cs typeface="Arial" panose="020B0604020202020204" pitchFamily="34" charset="0"/>
                  </a:rPr>
                  <a:t>Equinix </a:t>
                </a:r>
                <a:r>
                  <a:rPr lang="en-US" sz="750" b="1" dirty="0" err="1">
                    <a:solidFill>
                      <a:prstClr val="white"/>
                    </a:solidFill>
                    <a:cs typeface="Arial" panose="020B0604020202020204" pitchFamily="34" charset="0"/>
                  </a:rPr>
                  <a:t>CoLo</a:t>
                </a:r>
                <a:r>
                  <a:rPr lang="en-US" sz="750" b="1" dirty="0">
                    <a:solidFill>
                      <a:prstClr val="white"/>
                    </a:solidFill>
                    <a:cs typeface="Arial" panose="020B0604020202020204" pitchFamily="34" charset="0"/>
                  </a:rPr>
                  <a:t> DC</a:t>
                </a:r>
              </a:p>
            </p:txBody>
          </p:sp>
          <p:grpSp>
            <p:nvGrpSpPr>
              <p:cNvPr id="165" name="Group 164"/>
              <p:cNvGrpSpPr/>
              <p:nvPr/>
            </p:nvGrpSpPr>
            <p:grpSpPr>
              <a:xfrm>
                <a:off x="1007281" y="2598640"/>
                <a:ext cx="4567190" cy="734901"/>
                <a:chOff x="1007281" y="2796760"/>
                <a:chExt cx="4567190" cy="734901"/>
              </a:xfrm>
            </p:grpSpPr>
            <p:sp>
              <p:nvSpPr>
                <p:cNvPr id="182" name="Rounded Rectangle 181"/>
                <p:cNvSpPr/>
                <p:nvPr/>
              </p:nvSpPr>
              <p:spPr>
                <a:xfrm>
                  <a:off x="1007281" y="2796760"/>
                  <a:ext cx="4567190" cy="734901"/>
                </a:xfrm>
                <a:prstGeom prst="roundRect">
                  <a:avLst/>
                </a:prstGeom>
                <a:solidFill>
                  <a:srgbClr val="E1EAFF"/>
                </a:solidFill>
                <a:ln>
                  <a:solidFill>
                    <a:srgbClr val="0033A0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/>
                </a:p>
              </p:txBody>
            </p:sp>
            <p:grpSp>
              <p:nvGrpSpPr>
                <p:cNvPr id="183" name="Group 182"/>
                <p:cNvGrpSpPr/>
                <p:nvPr/>
              </p:nvGrpSpPr>
              <p:grpSpPr>
                <a:xfrm>
                  <a:off x="3080676" y="3262578"/>
                  <a:ext cx="1488468" cy="226711"/>
                  <a:chOff x="3210216" y="3110178"/>
                  <a:chExt cx="1488468" cy="226711"/>
                </a:xfrm>
              </p:grpSpPr>
              <p:sp>
                <p:nvSpPr>
                  <p:cNvPr id="193" name="Rectangle 192"/>
                  <p:cNvSpPr/>
                  <p:nvPr/>
                </p:nvSpPr>
                <p:spPr>
                  <a:xfrm>
                    <a:off x="3279259" y="3110178"/>
                    <a:ext cx="1419425" cy="226711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Firewall - Cisco ASA </a:t>
                    </a:r>
                  </a:p>
                  <a:p>
                    <a:pPr lvl="0" algn="ctr">
                      <a:defRPr/>
                    </a:pPr>
                    <a:r>
                      <a:rPr lang="en-US" sz="600" dirty="0">
                        <a:solidFill>
                          <a:srgbClr val="000000"/>
                        </a:solidFill>
                      </a:rPr>
                      <a:t>Firepower 4120 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pic>
                <p:nvPicPr>
                  <p:cNvPr id="194" name="Picture 193"/>
                  <p:cNvPicPr>
                    <a:picLocks noChangeAspect="1"/>
                  </p:cNvPicPr>
                  <p:nvPr/>
                </p:nvPicPr>
                <p:blipFill>
                  <a:blip r:embed="rId13" cstate="email">
                    <a:clrChange>
                      <a:clrFrom>
                        <a:srgbClr val="FEFEFE"/>
                      </a:clrFrom>
                      <a:clrTo>
                        <a:srgbClr val="FEFEFE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210216" y="3118427"/>
                    <a:ext cx="197064" cy="210212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84" name="Group 183"/>
                <p:cNvGrpSpPr/>
                <p:nvPr/>
              </p:nvGrpSpPr>
              <p:grpSpPr>
                <a:xfrm>
                  <a:off x="3297665" y="2921496"/>
                  <a:ext cx="2117524" cy="372086"/>
                  <a:chOff x="3297665" y="2769096"/>
                  <a:chExt cx="2117524" cy="372086"/>
                </a:xfrm>
              </p:grpSpPr>
              <p:sp>
                <p:nvSpPr>
                  <p:cNvPr id="191" name="Rectangle 190"/>
                  <p:cNvSpPr/>
                  <p:nvPr/>
                </p:nvSpPr>
                <p:spPr>
                  <a:xfrm>
                    <a:off x="3510141" y="2841784"/>
                    <a:ext cx="1905048" cy="226711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fr-FR" sz="600" b="1" dirty="0">
                        <a:solidFill>
                          <a:srgbClr val="000000"/>
                        </a:solidFill>
                      </a:rPr>
                      <a:t> </a:t>
                    </a:r>
                    <a:r>
                      <a:rPr lang="fr-FR" sz="600" b="1" dirty="0" err="1">
                        <a:solidFill>
                          <a:srgbClr val="000000"/>
                        </a:solidFill>
                      </a:rPr>
                      <a:t>Core</a:t>
                    </a:r>
                    <a:r>
                      <a:rPr lang="fr-FR" sz="600" b="1" dirty="0">
                        <a:solidFill>
                          <a:srgbClr val="000000"/>
                        </a:solidFill>
                      </a:rPr>
                      <a:t> Routers, VRF, BGP Endpoints - </a:t>
                    </a:r>
                    <a:r>
                      <a:rPr lang="fr-FR" sz="600" dirty="0">
                        <a:solidFill>
                          <a:srgbClr val="000000"/>
                        </a:solidFill>
                      </a:rPr>
                      <a:t>Cisco ASR 1001 - X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pic>
                <p:nvPicPr>
                  <p:cNvPr id="192" name="Picture 4" descr="Image result for router"/>
                  <p:cNvPicPr>
                    <a:picLocks noChangeAspect="1" noChangeArrowheads="1"/>
                  </p:cNvPicPr>
                  <p:nvPr/>
                </p:nvPicPr>
                <p:blipFill>
                  <a:blip r:embed="rId14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297665" y="2769096"/>
                    <a:ext cx="335549" cy="37208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185" name="Group 184"/>
                <p:cNvGrpSpPr/>
                <p:nvPr/>
              </p:nvGrpSpPr>
              <p:grpSpPr>
                <a:xfrm>
                  <a:off x="4502985" y="3250373"/>
                  <a:ext cx="957544" cy="254409"/>
                  <a:chOff x="4502985" y="3105593"/>
                  <a:chExt cx="957544" cy="254409"/>
                </a:xfrm>
              </p:grpSpPr>
              <p:sp>
                <p:nvSpPr>
                  <p:cNvPr id="189" name="Rectangle 188"/>
                  <p:cNvSpPr/>
                  <p:nvPr/>
                </p:nvSpPr>
                <p:spPr>
                  <a:xfrm>
                    <a:off x="4733862" y="3119444"/>
                    <a:ext cx="726667" cy="185272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NACL – </a:t>
                    </a:r>
                  </a:p>
                  <a:p>
                    <a:pPr lvl="0" algn="ctr">
                      <a:defRPr/>
                    </a:pPr>
                    <a:r>
                      <a:rPr lang="en-US" sz="600" dirty="0">
                        <a:solidFill>
                          <a:srgbClr val="000000"/>
                        </a:solidFill>
                      </a:rPr>
                      <a:t>Cisco ISE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pic>
                <p:nvPicPr>
                  <p:cNvPr id="190" name="Picture 2" descr="Related image"/>
                  <p:cNvPicPr>
                    <a:picLocks noChangeAspect="1" noChangeArrowheads="1"/>
                  </p:cNvPicPr>
                  <p:nvPr/>
                </p:nvPicPr>
                <p:blipFill>
                  <a:blip r:embed="rId15" cstate="email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02985" y="3105593"/>
                    <a:ext cx="339212" cy="254409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186" name="Group 185"/>
                <p:cNvGrpSpPr/>
                <p:nvPr/>
              </p:nvGrpSpPr>
              <p:grpSpPr>
                <a:xfrm>
                  <a:off x="1071144" y="2911600"/>
                  <a:ext cx="2208115" cy="372086"/>
                  <a:chOff x="1071144" y="2759200"/>
                  <a:chExt cx="2208115" cy="372086"/>
                </a:xfrm>
              </p:grpSpPr>
              <p:sp>
                <p:nvSpPr>
                  <p:cNvPr id="187" name="Rectangle 186"/>
                  <p:cNvSpPr/>
                  <p:nvPr/>
                </p:nvSpPr>
                <p:spPr>
                  <a:xfrm>
                    <a:off x="1257325" y="2840986"/>
                    <a:ext cx="2021934" cy="223754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525" b="1" dirty="0">
                        <a:solidFill>
                          <a:srgbClr val="000000"/>
                        </a:solidFill>
                      </a:rPr>
                      <a:t>WLAN, LAN Switches &amp; Routers -</a:t>
                    </a:r>
                  </a:p>
                  <a:p>
                    <a:pPr lvl="0" algn="ctr">
                      <a:defRPr/>
                    </a:pPr>
                    <a:r>
                      <a:rPr lang="en-US" sz="525" dirty="0">
                        <a:solidFill>
                          <a:srgbClr val="000000"/>
                        </a:solidFill>
                      </a:rPr>
                      <a:t>Meraki AP, MX &amp; MS</a:t>
                    </a:r>
                    <a:endParaRPr lang="en-US" sz="525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pic>
                <p:nvPicPr>
                  <p:cNvPr id="188" name="Picture 4" descr="Image result for router"/>
                  <p:cNvPicPr>
                    <a:picLocks noChangeAspect="1" noChangeArrowheads="1"/>
                  </p:cNvPicPr>
                  <p:nvPr/>
                </p:nvPicPr>
                <p:blipFill>
                  <a:blip r:embed="rId14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71144" y="2759200"/>
                    <a:ext cx="335549" cy="37208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</p:grpSp>
          <p:grpSp>
            <p:nvGrpSpPr>
              <p:cNvPr id="166" name="Group 165"/>
              <p:cNvGrpSpPr/>
              <p:nvPr/>
            </p:nvGrpSpPr>
            <p:grpSpPr>
              <a:xfrm>
                <a:off x="909387" y="2373443"/>
                <a:ext cx="2098532" cy="2122357"/>
                <a:chOff x="909387" y="2373443"/>
                <a:chExt cx="2098532" cy="2122357"/>
              </a:xfrm>
            </p:grpSpPr>
            <p:pic>
              <p:nvPicPr>
                <p:cNvPr id="174" name="Picture 6" descr="Image result for IBM"/>
                <p:cNvPicPr>
                  <a:picLocks noChangeAspect="1" noChangeArrowheads="1"/>
                </p:cNvPicPr>
                <p:nvPr/>
              </p:nvPicPr>
              <p:blipFill>
                <a:blip r:embed="rId1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14277" y="2426344"/>
                  <a:ext cx="296139" cy="14790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175" name="Group 174"/>
                <p:cNvGrpSpPr/>
                <p:nvPr/>
              </p:nvGrpSpPr>
              <p:grpSpPr>
                <a:xfrm>
                  <a:off x="909387" y="2373443"/>
                  <a:ext cx="2098532" cy="2122357"/>
                  <a:chOff x="909387" y="2373443"/>
                  <a:chExt cx="2098532" cy="2122357"/>
                </a:xfrm>
              </p:grpSpPr>
              <p:grpSp>
                <p:nvGrpSpPr>
                  <p:cNvPr id="176" name="Group 175"/>
                  <p:cNvGrpSpPr/>
                  <p:nvPr/>
                </p:nvGrpSpPr>
                <p:grpSpPr>
                  <a:xfrm>
                    <a:off x="1014025" y="3408164"/>
                    <a:ext cx="1889256" cy="711968"/>
                    <a:chOff x="1022052" y="3320534"/>
                    <a:chExt cx="2078182" cy="711968"/>
                  </a:xfrm>
                </p:grpSpPr>
                <p:sp>
                  <p:nvSpPr>
                    <p:cNvPr id="179" name="Rectangle 178"/>
                    <p:cNvSpPr/>
                    <p:nvPr/>
                  </p:nvSpPr>
                  <p:spPr>
                    <a:xfrm>
                      <a:off x="1022052" y="3320534"/>
                      <a:ext cx="2078182" cy="249383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WAN Connectivity to </a:t>
                      </a:r>
                    </a:p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Cloud/SaaS Providers - </a:t>
                      </a: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ECX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80" name="Rectangle 179"/>
                    <p:cNvSpPr/>
                    <p:nvPr/>
                  </p:nvSpPr>
                  <p:spPr>
                    <a:xfrm>
                      <a:off x="1022052" y="3612114"/>
                      <a:ext cx="2078182" cy="249383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Private B2B MPLS circuit - </a:t>
                      </a: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CenturyLink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81" name="Rectangle 180"/>
                    <p:cNvSpPr/>
                    <p:nvPr/>
                  </p:nvSpPr>
                  <p:spPr>
                    <a:xfrm>
                      <a:off x="1022052" y="3904529"/>
                      <a:ext cx="2078182" cy="127973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Internet Circuits - </a:t>
                      </a:r>
                      <a:r>
                        <a:rPr lang="en-US" sz="600" dirty="0">
                          <a:solidFill>
                            <a:srgbClr val="000000"/>
                          </a:solidFill>
                        </a:rPr>
                        <a:t>CenturyLink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  <p:sp>
                <p:nvSpPr>
                  <p:cNvPr id="177" name="Rounded Rectangle 176"/>
                  <p:cNvSpPr/>
                  <p:nvPr/>
                </p:nvSpPr>
                <p:spPr>
                  <a:xfrm>
                    <a:off x="909387" y="2373443"/>
                    <a:ext cx="2098532" cy="2122357"/>
                  </a:xfrm>
                  <a:prstGeom prst="roundRect">
                    <a:avLst/>
                  </a:prstGeom>
                  <a:noFill/>
                  <a:ln w="1270">
                    <a:solidFill>
                      <a:srgbClr val="0033A0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78" name="Rectangle 177"/>
                  <p:cNvSpPr/>
                  <p:nvPr/>
                </p:nvSpPr>
                <p:spPr>
                  <a:xfrm>
                    <a:off x="1014025" y="4195908"/>
                    <a:ext cx="1889256" cy="14077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it-IT" sz="600" b="1" dirty="0">
                        <a:solidFill>
                          <a:srgbClr val="000000"/>
                        </a:solidFill>
                      </a:rPr>
                      <a:t>Equinix Colo- </a:t>
                    </a:r>
                    <a:r>
                      <a:rPr lang="it-IT" sz="600" dirty="0">
                        <a:solidFill>
                          <a:srgbClr val="000000"/>
                        </a:solidFill>
                      </a:rPr>
                      <a:t>ECX CoLo DC</a:t>
                    </a:r>
                  </a:p>
                </p:txBody>
              </p:sp>
            </p:grpSp>
          </p:grpSp>
          <p:sp>
            <p:nvSpPr>
              <p:cNvPr id="167" name="TextBox 166"/>
              <p:cNvSpPr txBox="1"/>
              <p:nvPr/>
            </p:nvSpPr>
            <p:spPr>
              <a:xfrm>
                <a:off x="1262662" y="2611484"/>
                <a:ext cx="574944" cy="153888"/>
              </a:xfrm>
              <a:prstGeom prst="rect">
                <a:avLst/>
              </a:prstGeom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750" b="1" dirty="0">
                    <a:solidFill>
                      <a:srgbClr val="002060"/>
                    </a:solidFill>
                  </a:rPr>
                  <a:t>IBM Rack</a:t>
                </a:r>
              </a:p>
            </p:txBody>
          </p:sp>
          <p:grpSp>
            <p:nvGrpSpPr>
              <p:cNvPr id="168" name="Group 167"/>
              <p:cNvGrpSpPr/>
              <p:nvPr/>
            </p:nvGrpSpPr>
            <p:grpSpPr>
              <a:xfrm>
                <a:off x="3042212" y="2373443"/>
                <a:ext cx="2605698" cy="2122357"/>
                <a:chOff x="3042212" y="2373443"/>
                <a:chExt cx="2605698" cy="2122357"/>
              </a:xfrm>
            </p:grpSpPr>
            <p:grpSp>
              <p:nvGrpSpPr>
                <p:cNvPr id="169" name="Group 168"/>
                <p:cNvGrpSpPr/>
                <p:nvPr/>
              </p:nvGrpSpPr>
              <p:grpSpPr>
                <a:xfrm>
                  <a:off x="3373112" y="3400227"/>
                  <a:ext cx="1943899" cy="399777"/>
                  <a:chOff x="3373112" y="3400227"/>
                  <a:chExt cx="1943899" cy="399777"/>
                </a:xfrm>
              </p:grpSpPr>
              <p:sp>
                <p:nvSpPr>
                  <p:cNvPr id="172" name="Rectangle 171"/>
                  <p:cNvSpPr/>
                  <p:nvPr/>
                </p:nvSpPr>
                <p:spPr>
                  <a:xfrm>
                    <a:off x="3373112" y="3629672"/>
                    <a:ext cx="1943899" cy="170332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DHCP - </a:t>
                    </a:r>
                    <a:r>
                      <a:rPr lang="en-US" sz="600" dirty="0" err="1">
                        <a:solidFill>
                          <a:srgbClr val="000000"/>
                        </a:solidFill>
                      </a:rPr>
                      <a:t>Infoblox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73" name="Rectangle 172"/>
                  <p:cNvSpPr/>
                  <p:nvPr/>
                </p:nvSpPr>
                <p:spPr>
                  <a:xfrm>
                    <a:off x="3384713" y="3400227"/>
                    <a:ext cx="1920697" cy="170332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Cabling - </a:t>
                    </a:r>
                    <a:r>
                      <a:rPr lang="en-US" sz="600" dirty="0" err="1">
                        <a:solidFill>
                          <a:srgbClr val="000000"/>
                        </a:solidFill>
                      </a:rPr>
                      <a:t>Comnet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70" name="TextBox 169"/>
                <p:cNvSpPr txBox="1"/>
                <p:nvPr/>
              </p:nvSpPr>
              <p:spPr>
                <a:xfrm>
                  <a:off x="3441696" y="2392572"/>
                  <a:ext cx="359072" cy="215444"/>
                </a:xfrm>
                <a:prstGeom prst="rect">
                  <a:avLst/>
                </a:prstGeom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050" dirty="0">
                      <a:ln>
                        <a:solidFill>
                          <a:srgbClr val="33BEB4"/>
                        </a:solidFill>
                      </a:ln>
                      <a:solidFill>
                        <a:srgbClr val="87D437"/>
                      </a:solidFill>
                    </a:rPr>
                    <a:t>BHF</a:t>
                  </a:r>
                </a:p>
              </p:txBody>
            </p:sp>
            <p:sp>
              <p:nvSpPr>
                <p:cNvPr id="171" name="Rounded Rectangle 170"/>
                <p:cNvSpPr/>
                <p:nvPr/>
              </p:nvSpPr>
              <p:spPr>
                <a:xfrm>
                  <a:off x="3042212" y="2373443"/>
                  <a:ext cx="2605698" cy="2122357"/>
                </a:xfrm>
                <a:prstGeom prst="roundRect">
                  <a:avLst/>
                </a:prstGeom>
                <a:noFill/>
                <a:ln w="1270">
                  <a:solidFill>
                    <a:srgbClr val="83D21C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</p:grpSp>
        </p:grpSp>
        <p:grpSp>
          <p:nvGrpSpPr>
            <p:cNvPr id="195" name="Group 194"/>
            <p:cNvGrpSpPr/>
            <p:nvPr/>
          </p:nvGrpSpPr>
          <p:grpSpPr>
            <a:xfrm>
              <a:off x="6939480" y="1252797"/>
              <a:ext cx="859342" cy="551036"/>
              <a:chOff x="3176232" y="1134528"/>
              <a:chExt cx="1089205" cy="734714"/>
            </a:xfrm>
          </p:grpSpPr>
          <p:sp>
            <p:nvSpPr>
              <p:cNvPr id="196" name="Cloud 195"/>
              <p:cNvSpPr/>
              <p:nvPr/>
            </p:nvSpPr>
            <p:spPr>
              <a:xfrm>
                <a:off x="3176232" y="1320602"/>
                <a:ext cx="1089205" cy="548640"/>
              </a:xfrm>
              <a:prstGeom prst="cloud">
                <a:avLst/>
              </a:prstGeom>
              <a:solidFill>
                <a:srgbClr val="FF8F1C"/>
              </a:solidFill>
              <a:ln w="3175">
                <a:solidFill>
                  <a:schemeClr val="bg1">
                    <a:lumMod val="50000"/>
                    <a:alpha val="32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r>
                  <a:rPr lang="en-US" sz="750" dirty="0">
                    <a:solidFill>
                      <a:prstClr val="black"/>
                    </a:solidFill>
                    <a:latin typeface="+mj-lt"/>
                    <a:cs typeface="Arial" panose="020B0604020202020204" pitchFamily="34" charset="0"/>
                  </a:rPr>
                  <a:t>IBM </a:t>
                </a:r>
                <a:r>
                  <a:rPr lang="en-US" sz="750" dirty="0" err="1">
                    <a:solidFill>
                      <a:prstClr val="black"/>
                    </a:solidFill>
                    <a:latin typeface="+mj-lt"/>
                    <a:cs typeface="Arial" panose="020B0604020202020204" pitchFamily="34" charset="0"/>
                  </a:rPr>
                  <a:t>Softlayer</a:t>
                </a:r>
                <a:endParaRPr lang="en-US" sz="750" dirty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pic>
            <p:nvPicPr>
              <p:cNvPr id="197" name="Picture 6" descr="Image result for IBM"/>
              <p:cNvPicPr>
                <a:picLocks noChangeAspect="1" noChangeArrowheads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6802" y="1134528"/>
                <a:ext cx="296139" cy="1479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8" name="TextBox 197"/>
            <p:cNvSpPr txBox="1"/>
            <p:nvPr/>
          </p:nvSpPr>
          <p:spPr>
            <a:xfrm>
              <a:off x="2106089" y="4523395"/>
              <a:ext cx="269304" cy="161583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50" dirty="0">
                  <a:ln>
                    <a:solidFill>
                      <a:srgbClr val="33BEB4"/>
                    </a:solidFill>
                  </a:ln>
                  <a:solidFill>
                    <a:srgbClr val="87D437"/>
                  </a:solidFill>
                </a:rPr>
                <a:t>BHF</a:t>
              </a:r>
            </a:p>
          </p:txBody>
        </p:sp>
        <p:grpSp>
          <p:nvGrpSpPr>
            <p:cNvPr id="199" name="Group 198"/>
            <p:cNvGrpSpPr/>
            <p:nvPr/>
          </p:nvGrpSpPr>
          <p:grpSpPr>
            <a:xfrm>
              <a:off x="1983161" y="3889058"/>
              <a:ext cx="3621310" cy="1245458"/>
              <a:chOff x="849281" y="4566652"/>
              <a:chExt cx="4828413" cy="1660610"/>
            </a:xfrm>
          </p:grpSpPr>
          <p:sp>
            <p:nvSpPr>
              <p:cNvPr id="200" name="Rectangle 199"/>
              <p:cNvSpPr/>
              <p:nvPr/>
            </p:nvSpPr>
            <p:spPr>
              <a:xfrm>
                <a:off x="849281" y="4694307"/>
                <a:ext cx="4828413" cy="1532955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01" name="Rounded Rectangle 200"/>
              <p:cNvSpPr/>
              <p:nvPr/>
            </p:nvSpPr>
            <p:spPr>
              <a:xfrm>
                <a:off x="1000553" y="4566652"/>
                <a:ext cx="1530046" cy="216010"/>
              </a:xfrm>
              <a:prstGeom prst="roundRect">
                <a:avLst/>
              </a:prstGeom>
              <a:solidFill>
                <a:srgbClr val="0033A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r>
                  <a:rPr lang="en-US" sz="750" b="1" dirty="0">
                    <a:solidFill>
                      <a:prstClr val="white"/>
                    </a:solidFill>
                    <a:latin typeface="+mj-lt"/>
                    <a:cs typeface="Arial" panose="020B0604020202020204" pitchFamily="34" charset="0"/>
                  </a:rPr>
                  <a:t>BHF Sites</a:t>
                </a:r>
              </a:p>
            </p:txBody>
          </p:sp>
          <p:grpSp>
            <p:nvGrpSpPr>
              <p:cNvPr id="202" name="Group 201"/>
              <p:cNvGrpSpPr/>
              <p:nvPr/>
            </p:nvGrpSpPr>
            <p:grpSpPr>
              <a:xfrm>
                <a:off x="969050" y="4814675"/>
                <a:ext cx="4588875" cy="1360890"/>
                <a:chOff x="946828" y="4814675"/>
                <a:chExt cx="4588875" cy="1360890"/>
              </a:xfrm>
            </p:grpSpPr>
            <p:grpSp>
              <p:nvGrpSpPr>
                <p:cNvPr id="203" name="Group 202"/>
                <p:cNvGrpSpPr/>
                <p:nvPr/>
              </p:nvGrpSpPr>
              <p:grpSpPr>
                <a:xfrm>
                  <a:off x="1206610" y="4814675"/>
                  <a:ext cx="3363689" cy="580087"/>
                  <a:chOff x="1123209" y="4924056"/>
                  <a:chExt cx="3363689" cy="654261"/>
                </a:xfrm>
              </p:grpSpPr>
              <p:grpSp>
                <p:nvGrpSpPr>
                  <p:cNvPr id="222" name="Group 221"/>
                  <p:cNvGrpSpPr/>
                  <p:nvPr/>
                </p:nvGrpSpPr>
                <p:grpSpPr>
                  <a:xfrm>
                    <a:off x="1123209" y="4924057"/>
                    <a:ext cx="605292" cy="649696"/>
                    <a:chOff x="4227364" y="5351542"/>
                    <a:chExt cx="880017" cy="1457694"/>
                  </a:xfrm>
                </p:grpSpPr>
                <p:pic>
                  <p:nvPicPr>
                    <p:cNvPr id="235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371782" y="5351542"/>
                      <a:ext cx="602181" cy="643470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36" name="TextBox 235"/>
                    <p:cNvSpPr txBox="1"/>
                    <p:nvPr/>
                  </p:nvSpPr>
                  <p:spPr>
                    <a:xfrm>
                      <a:off x="4227364" y="6147219"/>
                      <a:ext cx="880017" cy="6620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  <a:cs typeface="Arial" panose="020B0604020202020204" pitchFamily="34" charset="0"/>
                        </a:rPr>
                        <a:t>Boston</a:t>
                      </a:r>
                    </a:p>
                  </p:txBody>
                </p:sp>
              </p:grpSp>
              <p:grpSp>
                <p:nvGrpSpPr>
                  <p:cNvPr id="223" name="Group 222"/>
                  <p:cNvGrpSpPr/>
                  <p:nvPr/>
                </p:nvGrpSpPr>
                <p:grpSpPr>
                  <a:xfrm>
                    <a:off x="1686997" y="4928622"/>
                    <a:ext cx="714299" cy="649695"/>
                    <a:chOff x="4454433" y="5351543"/>
                    <a:chExt cx="1038496" cy="1457693"/>
                  </a:xfrm>
                </p:grpSpPr>
                <p:pic>
                  <p:nvPicPr>
                    <p:cNvPr id="233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672589" y="5351543"/>
                      <a:ext cx="602182" cy="643472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34" name="TextBox 233"/>
                    <p:cNvSpPr txBox="1"/>
                    <p:nvPr/>
                  </p:nvSpPr>
                  <p:spPr>
                    <a:xfrm>
                      <a:off x="4454433" y="6147217"/>
                      <a:ext cx="1038496" cy="66201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>
                      <a:defPPr>
                        <a:defRPr lang="en-US"/>
                      </a:defPPr>
                      <a:lvl1pPr>
                        <a:defRPr sz="90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</a:lstStyle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</a:rPr>
                        <a:t>Charlotte</a:t>
                      </a:r>
                    </a:p>
                  </p:txBody>
                </p:sp>
              </p:grpSp>
              <p:grpSp>
                <p:nvGrpSpPr>
                  <p:cNvPr id="224" name="Group 223"/>
                  <p:cNvGrpSpPr/>
                  <p:nvPr/>
                </p:nvGrpSpPr>
                <p:grpSpPr>
                  <a:xfrm>
                    <a:off x="2143192" y="4927256"/>
                    <a:ext cx="1066961" cy="624920"/>
                    <a:chOff x="4429750" y="5351544"/>
                    <a:chExt cx="1551219" cy="1402108"/>
                  </a:xfrm>
                </p:grpSpPr>
                <p:pic>
                  <p:nvPicPr>
                    <p:cNvPr id="231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904268" y="5351544"/>
                      <a:ext cx="602182" cy="643471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32" name="TextBox 231"/>
                    <p:cNvSpPr txBox="1"/>
                    <p:nvPr/>
                  </p:nvSpPr>
                  <p:spPr>
                    <a:xfrm>
                      <a:off x="4429750" y="6091633"/>
                      <a:ext cx="1551219" cy="66201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>
                      <a:defPPr>
                        <a:defRPr lang="en-US"/>
                      </a:defPPr>
                      <a:lvl1pPr>
                        <a:defRPr sz="90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</a:lstStyle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</a:rPr>
                        <a:t>Convent Station</a:t>
                      </a:r>
                    </a:p>
                  </p:txBody>
                </p:sp>
              </p:grpSp>
              <p:grpSp>
                <p:nvGrpSpPr>
                  <p:cNvPr id="225" name="Group 224"/>
                  <p:cNvGrpSpPr/>
                  <p:nvPr/>
                </p:nvGrpSpPr>
                <p:grpSpPr>
                  <a:xfrm>
                    <a:off x="3149930" y="4924057"/>
                    <a:ext cx="746358" cy="649694"/>
                    <a:chOff x="5224800" y="5351543"/>
                    <a:chExt cx="1085109" cy="1457693"/>
                  </a:xfrm>
                </p:grpSpPr>
                <p:pic>
                  <p:nvPicPr>
                    <p:cNvPr id="229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466265" y="5351543"/>
                      <a:ext cx="602182" cy="643472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30" name="TextBox 229"/>
                    <p:cNvSpPr txBox="1"/>
                    <p:nvPr/>
                  </p:nvSpPr>
                  <p:spPr>
                    <a:xfrm>
                      <a:off x="5224800" y="6147217"/>
                      <a:ext cx="1085109" cy="66201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>
                      <a:defPPr>
                        <a:defRPr lang="en-US"/>
                      </a:defPPr>
                      <a:lvl1pPr>
                        <a:defRPr sz="90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</a:lstStyle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</a:rPr>
                        <a:t>New York</a:t>
                      </a:r>
                    </a:p>
                  </p:txBody>
                </p:sp>
              </p:grpSp>
              <p:grpSp>
                <p:nvGrpSpPr>
                  <p:cNvPr id="226" name="Group 225"/>
                  <p:cNvGrpSpPr/>
                  <p:nvPr/>
                </p:nvGrpSpPr>
                <p:grpSpPr>
                  <a:xfrm>
                    <a:off x="3881604" y="4924056"/>
                    <a:ext cx="605294" cy="649692"/>
                    <a:chOff x="5567874" y="5351543"/>
                    <a:chExt cx="880019" cy="1457689"/>
                  </a:xfrm>
                </p:grpSpPr>
                <p:pic>
                  <p:nvPicPr>
                    <p:cNvPr id="227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706796" y="5351543"/>
                      <a:ext cx="602182" cy="643472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28" name="TextBox 227"/>
                    <p:cNvSpPr txBox="1"/>
                    <p:nvPr/>
                  </p:nvSpPr>
                  <p:spPr>
                    <a:xfrm>
                      <a:off x="5567874" y="6147215"/>
                      <a:ext cx="880019" cy="6620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>
                      <a:defPPr>
                        <a:defRPr lang="en-US"/>
                      </a:defPPr>
                      <a:lvl1pPr>
                        <a:defRPr sz="90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</a:lstStyle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</a:rPr>
                        <a:t>Tampa</a:t>
                      </a:r>
                    </a:p>
                  </p:txBody>
                </p:sp>
              </p:grpSp>
            </p:grpSp>
            <p:grpSp>
              <p:nvGrpSpPr>
                <p:cNvPr id="204" name="Group 203"/>
                <p:cNvGrpSpPr/>
                <p:nvPr/>
              </p:nvGrpSpPr>
              <p:grpSpPr>
                <a:xfrm>
                  <a:off x="946828" y="5363991"/>
                  <a:ext cx="4588875" cy="811574"/>
                  <a:chOff x="946828" y="5363991"/>
                  <a:chExt cx="4588875" cy="811574"/>
                </a:xfrm>
              </p:grpSpPr>
              <p:grpSp>
                <p:nvGrpSpPr>
                  <p:cNvPr id="205" name="Group 204"/>
                  <p:cNvGrpSpPr/>
                  <p:nvPr/>
                </p:nvGrpSpPr>
                <p:grpSpPr>
                  <a:xfrm>
                    <a:off x="946828" y="5363991"/>
                    <a:ext cx="4588875" cy="372086"/>
                    <a:chOff x="946828" y="5363991"/>
                    <a:chExt cx="4588875" cy="372086"/>
                  </a:xfrm>
                </p:grpSpPr>
                <p:sp>
                  <p:nvSpPr>
                    <p:cNvPr id="217" name="Rectangle 216"/>
                    <p:cNvSpPr/>
                    <p:nvPr/>
                  </p:nvSpPr>
                  <p:spPr>
                    <a:xfrm>
                      <a:off x="1528469" y="5440959"/>
                      <a:ext cx="1424245" cy="139030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Cabling - </a:t>
                      </a:r>
                      <a:r>
                        <a:rPr lang="en-US" sz="600" dirty="0" err="1">
                          <a:solidFill>
                            <a:srgbClr val="000000"/>
                          </a:solidFill>
                        </a:rPr>
                        <a:t>Comnet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218" name="Rounded Rectangle 217"/>
                    <p:cNvSpPr/>
                    <p:nvPr/>
                  </p:nvSpPr>
                  <p:spPr>
                    <a:xfrm>
                      <a:off x="946828" y="5363991"/>
                      <a:ext cx="4588875" cy="292967"/>
                    </a:xfrm>
                    <a:prstGeom prst="roundRect">
                      <a:avLst/>
                    </a:prstGeom>
                    <a:noFill/>
                    <a:ln w="1270">
                      <a:solidFill>
                        <a:srgbClr val="83D21C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350"/>
                    </a:p>
                  </p:txBody>
                </p:sp>
                <p:grpSp>
                  <p:nvGrpSpPr>
                    <p:cNvPr id="219" name="Group 218"/>
                    <p:cNvGrpSpPr/>
                    <p:nvPr/>
                  </p:nvGrpSpPr>
                  <p:grpSpPr>
                    <a:xfrm>
                      <a:off x="3017869" y="5363991"/>
                      <a:ext cx="2397505" cy="372086"/>
                      <a:chOff x="3017869" y="5363991"/>
                      <a:chExt cx="2397505" cy="372086"/>
                    </a:xfrm>
                  </p:grpSpPr>
                  <p:sp>
                    <p:nvSpPr>
                      <p:cNvPr id="220" name="Rectangle 219"/>
                      <p:cNvSpPr/>
                      <p:nvPr/>
                    </p:nvSpPr>
                    <p:spPr>
                      <a:xfrm>
                        <a:off x="3202526" y="5405508"/>
                        <a:ext cx="2212848" cy="301752"/>
                      </a:xfrm>
                      <a:prstGeom prst="rect">
                        <a:avLst/>
                      </a:prstGeom>
                      <a:solidFill>
                        <a:schemeClr val="bg1">
                          <a:lumMod val="85000"/>
                        </a:schemeClr>
                      </a:solidFill>
                      <a:ln>
                        <a:solidFill>
                          <a:schemeClr val="bg1">
                            <a:lumMod val="75000"/>
                          </a:schemeClr>
                        </a:solidFill>
                      </a:ln>
                      <a:effectLst>
                        <a:outerShdw blurRad="50800" dist="38100" dir="8100000" algn="tr" rotWithShape="0">
                          <a:prstClr val="black">
                            <a:alpha val="40000"/>
                          </a:prstClr>
                        </a:outerShdw>
                      </a:effectLst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lvl="0" algn="ctr">
                          <a:defRPr/>
                        </a:pPr>
                        <a:r>
                          <a:rPr lang="en-US" sz="600" b="1" dirty="0">
                            <a:solidFill>
                              <a:srgbClr val="000000"/>
                            </a:solidFill>
                          </a:rPr>
                          <a:t>WLAN, LAN Switches &amp; Routers -</a:t>
                        </a:r>
                      </a:p>
                      <a:p>
                        <a:pPr lvl="0" algn="ctr">
                          <a:defRPr/>
                        </a:pPr>
                        <a:r>
                          <a:rPr lang="en-US" sz="600" dirty="0">
                            <a:solidFill>
                              <a:srgbClr val="000000"/>
                            </a:solidFill>
                          </a:rPr>
                          <a:t>Meraki AP, MX &amp; MS</a:t>
                        </a:r>
                        <a:endParaRPr lang="en-US" sz="600" dirty="0">
                          <a:solidFill>
                            <a:srgbClr val="000000"/>
                          </a:solidFill>
                          <a:latin typeface="Arial" panose="020B0604020202020204"/>
                        </a:endParaRPr>
                      </a:p>
                    </p:txBody>
                  </p:sp>
                  <p:pic>
                    <p:nvPicPr>
                      <p:cNvPr id="221" name="Picture 4" descr="Image result for router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 cstate="email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17869" y="5363991"/>
                        <a:ext cx="335549" cy="3720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grpSp>
              </p:grpSp>
              <p:grpSp>
                <p:nvGrpSpPr>
                  <p:cNvPr id="206" name="Group 205"/>
                  <p:cNvGrpSpPr/>
                  <p:nvPr/>
                </p:nvGrpSpPr>
                <p:grpSpPr>
                  <a:xfrm>
                    <a:off x="948953" y="5677888"/>
                    <a:ext cx="4586749" cy="497677"/>
                    <a:chOff x="948953" y="5677888"/>
                    <a:chExt cx="4586749" cy="497677"/>
                  </a:xfrm>
                </p:grpSpPr>
                <p:sp>
                  <p:nvSpPr>
                    <p:cNvPr id="207" name="Rounded Rectangle 206"/>
                    <p:cNvSpPr/>
                    <p:nvPr/>
                  </p:nvSpPr>
                  <p:spPr>
                    <a:xfrm>
                      <a:off x="948953" y="5677888"/>
                      <a:ext cx="4586749" cy="497677"/>
                    </a:xfrm>
                    <a:prstGeom prst="roundRect">
                      <a:avLst/>
                    </a:prstGeom>
                    <a:noFill/>
                    <a:ln w="1270">
                      <a:solidFill>
                        <a:srgbClr val="0033A0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350"/>
                    </a:p>
                  </p:txBody>
                </p:sp>
                <p:pic>
                  <p:nvPicPr>
                    <p:cNvPr id="208" name="Picture 6" descr="Image result for IBM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7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988792" y="5872645"/>
                      <a:ext cx="296139" cy="147901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grpSp>
                  <p:nvGrpSpPr>
                    <p:cNvPr id="209" name="Group 208"/>
                    <p:cNvGrpSpPr/>
                    <p:nvPr/>
                  </p:nvGrpSpPr>
                  <p:grpSpPr>
                    <a:xfrm>
                      <a:off x="1599513" y="5757898"/>
                      <a:ext cx="3813560" cy="377395"/>
                      <a:chOff x="1599513" y="5757898"/>
                      <a:chExt cx="3813560" cy="377395"/>
                    </a:xfrm>
                  </p:grpSpPr>
                  <p:grpSp>
                    <p:nvGrpSpPr>
                      <p:cNvPr id="210" name="Group 209"/>
                      <p:cNvGrpSpPr/>
                      <p:nvPr/>
                    </p:nvGrpSpPr>
                    <p:grpSpPr>
                      <a:xfrm>
                        <a:off x="4112124" y="5925081"/>
                        <a:ext cx="1277831" cy="210212"/>
                        <a:chOff x="4208084" y="6176528"/>
                        <a:chExt cx="1277831" cy="210212"/>
                      </a:xfrm>
                    </p:grpSpPr>
                    <p:sp>
                      <p:nvSpPr>
                        <p:cNvPr id="215" name="Rectangle 214"/>
                        <p:cNvSpPr/>
                        <p:nvPr/>
                      </p:nvSpPr>
                      <p:spPr>
                        <a:xfrm>
                          <a:off x="4350374" y="6213054"/>
                          <a:ext cx="1135541" cy="137160"/>
                        </a:xfrm>
                        <a:prstGeom prst="rect">
                          <a:avLst/>
                        </a:prstGeom>
                        <a:solidFill>
                          <a:schemeClr val="bg1">
                            <a:lumMod val="85000"/>
                          </a:schemeClr>
                        </a:solidFill>
                        <a:ln>
                          <a:solidFill>
                            <a:schemeClr val="bg1">
                              <a:lumMod val="75000"/>
                            </a:schemeClr>
                          </a:solidFill>
                        </a:ln>
                        <a:effectLst>
                          <a:outerShdw blurRad="50800" dist="381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lvl="0" algn="ctr">
                            <a:defRPr/>
                          </a:pPr>
                          <a:r>
                            <a:rPr lang="en-US" sz="600" b="1" dirty="0">
                              <a:solidFill>
                                <a:srgbClr val="000000"/>
                              </a:solidFill>
                            </a:rPr>
                            <a:t>Firewall - </a:t>
                          </a:r>
                          <a:r>
                            <a:rPr lang="en-US" sz="600" dirty="0" err="1">
                              <a:solidFill>
                                <a:srgbClr val="000000"/>
                              </a:solidFill>
                            </a:rPr>
                            <a:t>Fortigate</a:t>
                          </a:r>
                          <a:endParaRPr lang="en-US" sz="600" dirty="0">
                            <a:solidFill>
                              <a:srgbClr val="000000"/>
                            </a:solidFill>
                            <a:latin typeface="Arial" panose="020B0604020202020204"/>
                          </a:endParaRPr>
                        </a:p>
                      </p:txBody>
                    </p:sp>
                    <p:pic>
                      <p:nvPicPr>
                        <p:cNvPr id="216" name="Picture 215"/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3" cstate="email">
                          <a:clrChange>
                            <a:clrFrom>
                              <a:srgbClr val="FEFEFE"/>
                            </a:clrFrom>
                            <a:clrTo>
                              <a:srgbClr val="FEFEFE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4208084" y="6176528"/>
                          <a:ext cx="197064" cy="210212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211" name="Rectangle 210"/>
                      <p:cNvSpPr/>
                      <p:nvPr/>
                    </p:nvSpPr>
                    <p:spPr>
                      <a:xfrm>
                        <a:off x="1599513" y="5760781"/>
                        <a:ext cx="1699655" cy="134100"/>
                      </a:xfrm>
                      <a:prstGeom prst="rect">
                        <a:avLst/>
                      </a:prstGeom>
                      <a:solidFill>
                        <a:schemeClr val="bg1">
                          <a:lumMod val="85000"/>
                        </a:schemeClr>
                      </a:solidFill>
                      <a:ln>
                        <a:solidFill>
                          <a:schemeClr val="bg1">
                            <a:lumMod val="75000"/>
                          </a:schemeClr>
                        </a:solidFill>
                      </a:ln>
                      <a:effectLst>
                        <a:outerShdw blurRad="50800" dist="38100" dir="8100000" algn="tr" rotWithShape="0">
                          <a:prstClr val="black">
                            <a:alpha val="40000"/>
                          </a:prstClr>
                        </a:outerShdw>
                      </a:effectLst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lvl="0" algn="ctr">
                          <a:defRPr/>
                        </a:pPr>
                        <a:r>
                          <a:rPr lang="en-US" sz="600" b="1" dirty="0">
                            <a:solidFill>
                              <a:srgbClr val="000000"/>
                            </a:solidFill>
                          </a:rPr>
                          <a:t>Internet Circuits - </a:t>
                        </a:r>
                        <a:r>
                          <a:rPr lang="en-US" sz="600" dirty="0">
                            <a:solidFill>
                              <a:srgbClr val="000000"/>
                            </a:solidFill>
                          </a:rPr>
                          <a:t>CenturyLink</a:t>
                        </a:r>
                        <a:endParaRPr lang="en-US" sz="600" dirty="0">
                          <a:solidFill>
                            <a:srgbClr val="000000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212" name="Rectangle 211"/>
                      <p:cNvSpPr/>
                      <p:nvPr/>
                    </p:nvSpPr>
                    <p:spPr>
                      <a:xfrm>
                        <a:off x="3401393" y="5757898"/>
                        <a:ext cx="2011680" cy="137160"/>
                      </a:xfrm>
                      <a:prstGeom prst="rect">
                        <a:avLst/>
                      </a:prstGeom>
                      <a:solidFill>
                        <a:schemeClr val="bg1">
                          <a:lumMod val="85000"/>
                        </a:schemeClr>
                      </a:solidFill>
                      <a:ln>
                        <a:solidFill>
                          <a:schemeClr val="bg1">
                            <a:lumMod val="75000"/>
                          </a:schemeClr>
                        </a:solidFill>
                      </a:ln>
                      <a:effectLst>
                        <a:outerShdw blurRad="50800" dist="38100" dir="8100000" algn="tr" rotWithShape="0">
                          <a:prstClr val="black">
                            <a:alpha val="40000"/>
                          </a:prstClr>
                        </a:outerShdw>
                      </a:effectLst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lvl="0" algn="ctr">
                          <a:defRPr/>
                        </a:pPr>
                        <a:r>
                          <a:rPr lang="en-US" sz="600" b="1" dirty="0">
                            <a:solidFill>
                              <a:srgbClr val="000000"/>
                            </a:solidFill>
                          </a:rPr>
                          <a:t>ATA Gateway – </a:t>
                        </a:r>
                        <a:r>
                          <a:rPr lang="en-US" sz="600" dirty="0" err="1">
                            <a:solidFill>
                              <a:srgbClr val="000000"/>
                            </a:solidFill>
                          </a:rPr>
                          <a:t>Lexair</a:t>
                        </a:r>
                        <a:r>
                          <a:rPr lang="en-US" sz="600" dirty="0">
                            <a:solidFill>
                              <a:srgbClr val="000000"/>
                            </a:solidFill>
                          </a:rPr>
                          <a:t> </a:t>
                        </a:r>
                        <a:r>
                          <a:rPr lang="en-US" sz="600" dirty="0" err="1">
                            <a:solidFill>
                              <a:srgbClr val="000000"/>
                            </a:solidFill>
                          </a:rPr>
                          <a:t>Grandstream</a:t>
                        </a:r>
                        <a:endParaRPr lang="en-US" sz="600" dirty="0">
                          <a:solidFill>
                            <a:srgbClr val="000000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213" name="Rectangle 212"/>
                      <p:cNvSpPr/>
                      <p:nvPr/>
                    </p:nvSpPr>
                    <p:spPr>
                      <a:xfrm>
                        <a:off x="1609616" y="5944100"/>
                        <a:ext cx="1228868" cy="182560"/>
                      </a:xfrm>
                      <a:prstGeom prst="rect">
                        <a:avLst/>
                      </a:prstGeom>
                      <a:solidFill>
                        <a:srgbClr val="FF8F1C"/>
                      </a:solidFill>
                      <a:ln>
                        <a:solidFill>
                          <a:schemeClr val="bg1">
                            <a:lumMod val="75000"/>
                          </a:schemeClr>
                        </a:solidFill>
                      </a:ln>
                      <a:effectLst>
                        <a:outerShdw blurRad="50800" dist="38100" dir="8100000" algn="tr" rotWithShape="0">
                          <a:prstClr val="black">
                            <a:alpha val="40000"/>
                          </a:prstClr>
                        </a:outerShdw>
                      </a:effectLst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lvl="0" algn="ctr">
                          <a:defRPr/>
                        </a:pPr>
                        <a:r>
                          <a:rPr lang="en-US" sz="600" b="1" dirty="0">
                            <a:solidFill>
                              <a:srgbClr val="000000"/>
                            </a:solidFill>
                          </a:rPr>
                          <a:t>Analog phone lines for Faxing - </a:t>
                        </a:r>
                        <a:r>
                          <a:rPr lang="en-US" sz="600" dirty="0" err="1">
                            <a:solidFill>
                              <a:srgbClr val="000000"/>
                            </a:solidFill>
                          </a:rPr>
                          <a:t>Lexair</a:t>
                        </a:r>
                        <a:endParaRPr lang="en-US" sz="600" dirty="0">
                          <a:solidFill>
                            <a:srgbClr val="000000"/>
                          </a:solidFill>
                          <a:latin typeface="Arial" panose="020B0604020202020204"/>
                        </a:endParaRPr>
                      </a:p>
                    </p:txBody>
                  </p:sp>
                  <p:sp>
                    <p:nvSpPr>
                      <p:cNvPr id="214" name="Rectangle 213"/>
                      <p:cNvSpPr/>
                      <p:nvPr/>
                    </p:nvSpPr>
                    <p:spPr>
                      <a:xfrm>
                        <a:off x="2952714" y="5941400"/>
                        <a:ext cx="1117153" cy="182560"/>
                      </a:xfrm>
                      <a:prstGeom prst="rect">
                        <a:avLst/>
                      </a:prstGeom>
                      <a:solidFill>
                        <a:schemeClr val="bg1">
                          <a:lumMod val="85000"/>
                        </a:schemeClr>
                      </a:solidFill>
                      <a:ln>
                        <a:solidFill>
                          <a:schemeClr val="bg1">
                            <a:lumMod val="75000"/>
                          </a:schemeClr>
                        </a:solidFill>
                      </a:ln>
                      <a:effectLst>
                        <a:outerShdw blurRad="50800" dist="38100" dir="8100000" algn="tr" rotWithShape="0">
                          <a:prstClr val="black">
                            <a:alpha val="40000"/>
                          </a:prstClr>
                        </a:outerShdw>
                      </a:effectLst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lvl="0" algn="ctr">
                          <a:defRPr/>
                        </a:pPr>
                        <a:r>
                          <a:rPr lang="en-US" sz="600" b="1" dirty="0">
                            <a:solidFill>
                              <a:srgbClr val="000000"/>
                            </a:solidFill>
                          </a:rPr>
                          <a:t>Analog lines for </a:t>
                        </a:r>
                        <a:r>
                          <a:rPr lang="en-US" sz="600" b="1" dirty="0" err="1">
                            <a:solidFill>
                              <a:srgbClr val="000000"/>
                            </a:solidFill>
                          </a:rPr>
                          <a:t>Conf</a:t>
                        </a:r>
                        <a:r>
                          <a:rPr lang="en-US" sz="600" b="1" dirty="0">
                            <a:solidFill>
                              <a:srgbClr val="000000"/>
                            </a:solidFill>
                          </a:rPr>
                          <a:t> - </a:t>
                        </a:r>
                        <a:r>
                          <a:rPr lang="en-US" sz="600" dirty="0" err="1">
                            <a:solidFill>
                              <a:srgbClr val="000000"/>
                            </a:solidFill>
                          </a:rPr>
                          <a:t>Lexair</a:t>
                        </a:r>
                        <a:endParaRPr lang="en-US" sz="600" dirty="0">
                          <a:solidFill>
                            <a:srgbClr val="000000"/>
                          </a:solidFill>
                          <a:latin typeface="Arial" panose="020B0604020202020204"/>
                        </a:endParaRPr>
                      </a:p>
                    </p:txBody>
                  </p:sp>
                </p:grpSp>
              </p:grpSp>
            </p:grpSp>
          </p:grpSp>
        </p:grpSp>
        <p:sp>
          <p:nvSpPr>
            <p:cNvPr id="237" name="Rectangle 236"/>
            <p:cNvSpPr/>
            <p:nvPr/>
          </p:nvSpPr>
          <p:spPr>
            <a:xfrm>
              <a:off x="6812940" y="4922144"/>
              <a:ext cx="921651" cy="136920"/>
            </a:xfrm>
            <a:prstGeom prst="rect">
              <a:avLst/>
            </a:prstGeom>
            <a:solidFill>
              <a:srgbClr val="FF8F1C"/>
            </a:solidFill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en-US" sz="600" b="1" dirty="0">
                  <a:solidFill>
                    <a:srgbClr val="000000"/>
                  </a:solidFill>
                </a:rPr>
                <a:t>Analog phone lines for Faxing - </a:t>
              </a:r>
              <a:r>
                <a:rPr lang="en-US" sz="600" dirty="0" err="1">
                  <a:solidFill>
                    <a:srgbClr val="000000"/>
                  </a:solidFill>
                </a:rPr>
                <a:t>Lexair</a:t>
              </a:r>
              <a:endParaRPr lang="en-US" sz="60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6226022" y="3889058"/>
              <a:ext cx="3621310" cy="1245458"/>
              <a:chOff x="6506429" y="4552867"/>
              <a:chExt cx="4828413" cy="1660610"/>
            </a:xfrm>
          </p:grpSpPr>
          <p:sp>
            <p:nvSpPr>
              <p:cNvPr id="239" name="Rectangle 238"/>
              <p:cNvSpPr/>
              <p:nvPr/>
            </p:nvSpPr>
            <p:spPr>
              <a:xfrm>
                <a:off x="6506429" y="4680522"/>
                <a:ext cx="4828413" cy="1532955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40" name="Rounded Rectangle 239"/>
              <p:cNvSpPr/>
              <p:nvPr/>
            </p:nvSpPr>
            <p:spPr>
              <a:xfrm>
                <a:off x="6657701" y="4552867"/>
                <a:ext cx="1530046" cy="216010"/>
              </a:xfrm>
              <a:prstGeom prst="roundRect">
                <a:avLst/>
              </a:prstGeom>
              <a:solidFill>
                <a:srgbClr val="0033A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r>
                  <a:rPr lang="en-US" sz="750" b="1" dirty="0">
                    <a:solidFill>
                      <a:prstClr val="white"/>
                    </a:solidFill>
                    <a:latin typeface="+mj-lt"/>
                    <a:cs typeface="Arial" panose="020B0604020202020204" pitchFamily="34" charset="0"/>
                  </a:rPr>
                  <a:t>BHF Sites</a:t>
                </a:r>
              </a:p>
            </p:txBody>
          </p:sp>
          <p:grpSp>
            <p:nvGrpSpPr>
              <p:cNvPr id="241" name="Group 240"/>
              <p:cNvGrpSpPr/>
              <p:nvPr/>
            </p:nvGrpSpPr>
            <p:grpSpPr>
              <a:xfrm>
                <a:off x="6527235" y="4814607"/>
                <a:ext cx="4687837" cy="1347174"/>
                <a:chOff x="6527235" y="4814607"/>
                <a:chExt cx="4687837" cy="1347174"/>
              </a:xfrm>
            </p:grpSpPr>
            <p:grpSp>
              <p:nvGrpSpPr>
                <p:cNvPr id="242" name="Group 241"/>
                <p:cNvGrpSpPr/>
                <p:nvPr/>
              </p:nvGrpSpPr>
              <p:grpSpPr>
                <a:xfrm>
                  <a:off x="6527235" y="4814607"/>
                  <a:ext cx="3943597" cy="593872"/>
                  <a:chOff x="764464" y="4939522"/>
                  <a:chExt cx="3943597" cy="669808"/>
                </a:xfrm>
              </p:grpSpPr>
              <p:grpSp>
                <p:nvGrpSpPr>
                  <p:cNvPr id="257" name="Group 256"/>
                  <p:cNvGrpSpPr/>
                  <p:nvPr/>
                </p:nvGrpSpPr>
                <p:grpSpPr>
                  <a:xfrm>
                    <a:off x="764464" y="4955068"/>
                    <a:ext cx="605293" cy="649696"/>
                    <a:chOff x="3705796" y="5421121"/>
                    <a:chExt cx="880018" cy="1457694"/>
                  </a:xfrm>
                </p:grpSpPr>
                <p:pic>
                  <p:nvPicPr>
                    <p:cNvPr id="270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850214" y="5421121"/>
                      <a:ext cx="602181" cy="643471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71" name="TextBox 270"/>
                    <p:cNvSpPr txBox="1"/>
                    <p:nvPr/>
                  </p:nvSpPr>
                  <p:spPr>
                    <a:xfrm>
                      <a:off x="3705796" y="6216797"/>
                      <a:ext cx="880018" cy="66201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  <a:cs typeface="Arial" panose="020B0604020202020204" pitchFamily="34" charset="0"/>
                        </a:rPr>
                        <a:t>Boston</a:t>
                      </a:r>
                    </a:p>
                  </p:txBody>
                </p:sp>
              </p:grpSp>
              <p:grpSp>
                <p:nvGrpSpPr>
                  <p:cNvPr id="258" name="Group 257"/>
                  <p:cNvGrpSpPr/>
                  <p:nvPr/>
                </p:nvGrpSpPr>
                <p:grpSpPr>
                  <a:xfrm>
                    <a:off x="1535549" y="4959635"/>
                    <a:ext cx="714299" cy="649695"/>
                    <a:chOff x="4234244" y="5421122"/>
                    <a:chExt cx="1038496" cy="1457692"/>
                  </a:xfrm>
                </p:grpSpPr>
                <p:pic>
                  <p:nvPicPr>
                    <p:cNvPr id="268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452402" y="5421122"/>
                      <a:ext cx="602182" cy="643472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69" name="TextBox 268"/>
                    <p:cNvSpPr txBox="1"/>
                    <p:nvPr/>
                  </p:nvSpPr>
                  <p:spPr>
                    <a:xfrm>
                      <a:off x="4234244" y="6216794"/>
                      <a:ext cx="1038496" cy="6620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>
                      <a:defPPr>
                        <a:defRPr lang="en-US"/>
                      </a:defPPr>
                      <a:lvl1pPr>
                        <a:defRPr sz="90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</a:lstStyle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</a:rPr>
                        <a:t>Charlotte</a:t>
                      </a:r>
                    </a:p>
                  </p:txBody>
                </p:sp>
              </p:grpSp>
              <p:grpSp>
                <p:nvGrpSpPr>
                  <p:cNvPr id="259" name="Group 258"/>
                  <p:cNvGrpSpPr/>
                  <p:nvPr/>
                </p:nvGrpSpPr>
                <p:grpSpPr>
                  <a:xfrm>
                    <a:off x="2254315" y="4958266"/>
                    <a:ext cx="1066961" cy="624919"/>
                    <a:chOff x="4591304" y="5421123"/>
                    <a:chExt cx="1551219" cy="1402106"/>
                  </a:xfrm>
                </p:grpSpPr>
                <p:pic>
                  <p:nvPicPr>
                    <p:cNvPr id="266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065822" y="5421123"/>
                      <a:ext cx="602182" cy="643472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67" name="TextBox 266"/>
                    <p:cNvSpPr txBox="1"/>
                    <p:nvPr/>
                  </p:nvSpPr>
                  <p:spPr>
                    <a:xfrm>
                      <a:off x="4591304" y="6161210"/>
                      <a:ext cx="1551219" cy="66201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>
                      <a:defPPr>
                        <a:defRPr lang="en-US"/>
                      </a:defPPr>
                      <a:lvl1pPr>
                        <a:defRPr sz="90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</a:lstStyle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</a:rPr>
                        <a:t>Convent Station</a:t>
                      </a:r>
                    </a:p>
                  </p:txBody>
                </p:sp>
              </p:grpSp>
              <p:grpSp>
                <p:nvGrpSpPr>
                  <p:cNvPr id="260" name="Group 259"/>
                  <p:cNvGrpSpPr/>
                  <p:nvPr/>
                </p:nvGrpSpPr>
                <p:grpSpPr>
                  <a:xfrm>
                    <a:off x="3288696" y="4955069"/>
                    <a:ext cx="746358" cy="649694"/>
                    <a:chOff x="5426539" y="5421122"/>
                    <a:chExt cx="1085109" cy="1457693"/>
                  </a:xfrm>
                </p:grpSpPr>
                <p:pic>
                  <p:nvPicPr>
                    <p:cNvPr id="264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668004" y="5421122"/>
                      <a:ext cx="602182" cy="643473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65" name="TextBox 264"/>
                    <p:cNvSpPr txBox="1"/>
                    <p:nvPr/>
                  </p:nvSpPr>
                  <p:spPr>
                    <a:xfrm>
                      <a:off x="5426539" y="6216796"/>
                      <a:ext cx="1085109" cy="66201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>
                      <a:defPPr>
                        <a:defRPr lang="en-US"/>
                      </a:defPPr>
                      <a:lvl1pPr>
                        <a:defRPr sz="90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</a:lstStyle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</a:rPr>
                        <a:t>New York</a:t>
                      </a:r>
                    </a:p>
                  </p:txBody>
                </p:sp>
              </p:grpSp>
              <p:grpSp>
                <p:nvGrpSpPr>
                  <p:cNvPr id="261" name="Group 260"/>
                  <p:cNvGrpSpPr/>
                  <p:nvPr/>
                </p:nvGrpSpPr>
                <p:grpSpPr>
                  <a:xfrm>
                    <a:off x="4102769" y="4939522"/>
                    <a:ext cx="605292" cy="649692"/>
                    <a:chOff x="5889404" y="5386242"/>
                    <a:chExt cx="880016" cy="1457689"/>
                  </a:xfrm>
                </p:grpSpPr>
                <p:pic>
                  <p:nvPicPr>
                    <p:cNvPr id="262" name="Picture 8" descr="Image result for office building 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028326" y="5386242"/>
                      <a:ext cx="602182" cy="643471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263" name="TextBox 262"/>
                    <p:cNvSpPr txBox="1"/>
                    <p:nvPr/>
                  </p:nvSpPr>
                  <p:spPr>
                    <a:xfrm>
                      <a:off x="5889404" y="6181914"/>
                      <a:ext cx="880016" cy="6620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>
                      <a:defPPr>
                        <a:defRPr lang="en-US"/>
                      </a:defPPr>
                      <a:lvl1pPr>
                        <a:defRPr sz="90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</a:lstStyle>
                    <a:p>
                      <a:pPr algn="ctr" defTabSz="685800">
                        <a:defRPr/>
                      </a:pPr>
                      <a:r>
                        <a:rPr lang="en-US" sz="675" dirty="0">
                          <a:solidFill>
                            <a:prstClr val="black"/>
                          </a:solidFill>
                          <a:latin typeface="+mj-lt"/>
                        </a:rPr>
                        <a:t>Tampa</a:t>
                      </a:r>
                    </a:p>
                  </p:txBody>
                </p:sp>
              </p:grpSp>
            </p:grpSp>
            <p:grpSp>
              <p:nvGrpSpPr>
                <p:cNvPr id="243" name="Group 242"/>
                <p:cNvGrpSpPr/>
                <p:nvPr/>
              </p:nvGrpSpPr>
              <p:grpSpPr>
                <a:xfrm>
                  <a:off x="6567647" y="5350206"/>
                  <a:ext cx="4647425" cy="811575"/>
                  <a:chOff x="6567647" y="5350206"/>
                  <a:chExt cx="4647425" cy="811575"/>
                </a:xfrm>
              </p:grpSpPr>
              <p:grpSp>
                <p:nvGrpSpPr>
                  <p:cNvPr id="244" name="Group 243"/>
                  <p:cNvGrpSpPr/>
                  <p:nvPr/>
                </p:nvGrpSpPr>
                <p:grpSpPr>
                  <a:xfrm>
                    <a:off x="7207839" y="5350206"/>
                    <a:ext cx="3886905" cy="372086"/>
                    <a:chOff x="1528469" y="5363991"/>
                    <a:chExt cx="3886905" cy="372086"/>
                  </a:xfrm>
                </p:grpSpPr>
                <p:sp>
                  <p:nvSpPr>
                    <p:cNvPr id="253" name="Rectangle 252"/>
                    <p:cNvSpPr/>
                    <p:nvPr/>
                  </p:nvSpPr>
                  <p:spPr>
                    <a:xfrm>
                      <a:off x="1528469" y="5440959"/>
                      <a:ext cx="1424245" cy="139030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Cabling - </a:t>
                      </a:r>
                      <a:r>
                        <a:rPr lang="en-US" sz="600" dirty="0" err="1">
                          <a:solidFill>
                            <a:srgbClr val="000000"/>
                          </a:solidFill>
                        </a:rPr>
                        <a:t>Comnet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grpSp>
                  <p:nvGrpSpPr>
                    <p:cNvPr id="254" name="Group 253"/>
                    <p:cNvGrpSpPr/>
                    <p:nvPr/>
                  </p:nvGrpSpPr>
                  <p:grpSpPr>
                    <a:xfrm>
                      <a:off x="3017869" y="5363991"/>
                      <a:ext cx="2397505" cy="372086"/>
                      <a:chOff x="3017869" y="5363991"/>
                      <a:chExt cx="2397505" cy="372086"/>
                    </a:xfrm>
                  </p:grpSpPr>
                  <p:sp>
                    <p:nvSpPr>
                      <p:cNvPr id="255" name="Rectangle 254"/>
                      <p:cNvSpPr/>
                      <p:nvPr/>
                    </p:nvSpPr>
                    <p:spPr>
                      <a:xfrm>
                        <a:off x="3202526" y="5405508"/>
                        <a:ext cx="2212848" cy="301752"/>
                      </a:xfrm>
                      <a:prstGeom prst="rect">
                        <a:avLst/>
                      </a:prstGeom>
                      <a:solidFill>
                        <a:schemeClr val="bg1">
                          <a:lumMod val="85000"/>
                        </a:schemeClr>
                      </a:solidFill>
                      <a:ln>
                        <a:solidFill>
                          <a:schemeClr val="bg1">
                            <a:lumMod val="75000"/>
                          </a:schemeClr>
                        </a:solidFill>
                      </a:ln>
                      <a:effectLst>
                        <a:outerShdw blurRad="50800" dist="38100" dir="8100000" algn="tr" rotWithShape="0">
                          <a:prstClr val="black">
                            <a:alpha val="40000"/>
                          </a:prstClr>
                        </a:outerShdw>
                      </a:effectLst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lvl="0" algn="ctr">
                          <a:defRPr/>
                        </a:pPr>
                        <a:r>
                          <a:rPr lang="en-US" sz="600" b="1" dirty="0">
                            <a:solidFill>
                              <a:srgbClr val="000000"/>
                            </a:solidFill>
                          </a:rPr>
                          <a:t>WLAN, LAN Switches &amp; Routers -</a:t>
                        </a:r>
                      </a:p>
                      <a:p>
                        <a:pPr lvl="0" algn="ctr">
                          <a:defRPr/>
                        </a:pPr>
                        <a:r>
                          <a:rPr lang="en-US" sz="600" dirty="0">
                            <a:solidFill>
                              <a:srgbClr val="000000"/>
                            </a:solidFill>
                          </a:rPr>
                          <a:t>Meraki AP, MX &amp; MS</a:t>
                        </a:r>
                        <a:endParaRPr lang="en-US" sz="600" dirty="0">
                          <a:solidFill>
                            <a:srgbClr val="000000"/>
                          </a:solidFill>
                          <a:latin typeface="Arial" panose="020B0604020202020204"/>
                        </a:endParaRPr>
                      </a:p>
                    </p:txBody>
                  </p:sp>
                  <p:pic>
                    <p:nvPicPr>
                      <p:cNvPr id="256" name="Picture 4" descr="Image result for router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 cstate="email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17869" y="5363991"/>
                        <a:ext cx="335549" cy="3720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grpSp>
              </p:grpSp>
              <p:sp>
                <p:nvSpPr>
                  <p:cNvPr id="245" name="Rounded Rectangle 244"/>
                  <p:cNvSpPr/>
                  <p:nvPr/>
                </p:nvSpPr>
                <p:spPr>
                  <a:xfrm>
                    <a:off x="6567647" y="5350207"/>
                    <a:ext cx="4647425" cy="811574"/>
                  </a:xfrm>
                  <a:prstGeom prst="roundRect">
                    <a:avLst/>
                  </a:prstGeom>
                  <a:noFill/>
                  <a:ln w="1270">
                    <a:solidFill>
                      <a:srgbClr val="0033A0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grpSp>
                <p:nvGrpSpPr>
                  <p:cNvPr id="246" name="Group 245"/>
                  <p:cNvGrpSpPr/>
                  <p:nvPr/>
                </p:nvGrpSpPr>
                <p:grpSpPr>
                  <a:xfrm>
                    <a:off x="9791494" y="5911296"/>
                    <a:ext cx="1277831" cy="210212"/>
                    <a:chOff x="4208084" y="6176528"/>
                    <a:chExt cx="1277831" cy="210212"/>
                  </a:xfrm>
                </p:grpSpPr>
                <p:sp>
                  <p:nvSpPr>
                    <p:cNvPr id="251" name="Rectangle 250"/>
                    <p:cNvSpPr/>
                    <p:nvPr/>
                  </p:nvSpPr>
                  <p:spPr>
                    <a:xfrm>
                      <a:off x="4350374" y="6213054"/>
                      <a:ext cx="1135541" cy="137160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0" algn="ctr">
                        <a:defRPr/>
                      </a:pPr>
                      <a:r>
                        <a:rPr lang="en-US" sz="600" b="1" dirty="0">
                          <a:solidFill>
                            <a:srgbClr val="000000"/>
                          </a:solidFill>
                        </a:rPr>
                        <a:t>Firewall - </a:t>
                      </a:r>
                      <a:r>
                        <a:rPr lang="en-US" sz="600" dirty="0" err="1">
                          <a:solidFill>
                            <a:srgbClr val="000000"/>
                          </a:solidFill>
                        </a:rPr>
                        <a:t>Fortigate</a:t>
                      </a:r>
                      <a:endParaRPr lang="en-US" sz="600" dirty="0">
                        <a:solidFill>
                          <a:srgbClr val="000000"/>
                        </a:solidFill>
                        <a:latin typeface="Arial" panose="020B0604020202020204"/>
                      </a:endParaRPr>
                    </a:p>
                  </p:txBody>
                </p:sp>
                <p:pic>
                  <p:nvPicPr>
                    <p:cNvPr id="252" name="Picture 251"/>
                    <p:cNvPicPr>
                      <a:picLocks noChangeAspect="1"/>
                    </p:cNvPicPr>
                    <p:nvPr/>
                  </p:nvPicPr>
                  <p:blipFill>
                    <a:blip r:embed="rId13" cstate="email">
                      <a:clrChange>
                        <a:clrFrom>
                          <a:srgbClr val="FEFEFE"/>
                        </a:clrFrom>
                        <a:clrTo>
                          <a:srgbClr val="FEFEFE">
                            <a:alpha val="0"/>
                          </a:srgbClr>
                        </a:clrTo>
                      </a:clrChang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208084" y="6176528"/>
                      <a:ext cx="197064" cy="210212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247" name="Rectangle 246"/>
                  <p:cNvSpPr/>
                  <p:nvPr/>
                </p:nvSpPr>
                <p:spPr>
                  <a:xfrm>
                    <a:off x="7332223" y="5746996"/>
                    <a:ext cx="1699655" cy="1341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Internet Circuits - </a:t>
                    </a:r>
                    <a:r>
                      <a:rPr lang="en-US" sz="600" dirty="0">
                        <a:solidFill>
                          <a:srgbClr val="000000"/>
                        </a:solidFill>
                      </a:rPr>
                      <a:t>CenturyLink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48" name="Rectangle 247"/>
                  <p:cNvSpPr/>
                  <p:nvPr/>
                </p:nvSpPr>
                <p:spPr>
                  <a:xfrm>
                    <a:off x="9080763" y="5744113"/>
                    <a:ext cx="2011680" cy="13716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ATA Gateway – </a:t>
                    </a:r>
                    <a:r>
                      <a:rPr lang="en-US" sz="600" dirty="0" err="1">
                        <a:solidFill>
                          <a:srgbClr val="000000"/>
                        </a:solidFill>
                      </a:rPr>
                      <a:t>Lexair</a:t>
                    </a:r>
                    <a:r>
                      <a:rPr lang="en-US" sz="600" dirty="0">
                        <a:solidFill>
                          <a:srgbClr val="000000"/>
                        </a:solidFill>
                      </a:rPr>
                      <a:t> </a:t>
                    </a:r>
                    <a:r>
                      <a:rPr lang="en-US" sz="600" dirty="0" err="1">
                        <a:solidFill>
                          <a:srgbClr val="000000"/>
                        </a:solidFill>
                      </a:rPr>
                      <a:t>Grandstream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249" name="Rectangle 248"/>
                  <p:cNvSpPr/>
                  <p:nvPr/>
                </p:nvSpPr>
                <p:spPr>
                  <a:xfrm>
                    <a:off x="8632084" y="5927615"/>
                    <a:ext cx="1117153" cy="18256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>
                      <a:defRPr/>
                    </a:pP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Analog lines for </a:t>
                    </a:r>
                    <a:r>
                      <a:rPr lang="en-US" sz="600" b="1" dirty="0" err="1">
                        <a:solidFill>
                          <a:srgbClr val="000000"/>
                        </a:solidFill>
                      </a:rPr>
                      <a:t>Conf</a:t>
                    </a:r>
                    <a:r>
                      <a:rPr lang="en-US" sz="600" b="1" dirty="0">
                        <a:solidFill>
                          <a:srgbClr val="000000"/>
                        </a:solidFill>
                      </a:rPr>
                      <a:t> - </a:t>
                    </a:r>
                    <a:r>
                      <a:rPr lang="en-US" sz="600" dirty="0" err="1">
                        <a:solidFill>
                          <a:srgbClr val="000000"/>
                        </a:solidFill>
                      </a:rPr>
                      <a:t>Lexair</a:t>
                    </a:r>
                    <a:endParaRPr lang="en-US" sz="600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  <p:pic>
                <p:nvPicPr>
                  <p:cNvPr id="250" name="Picture 249">
                    <a:extLst>
                      <a:ext uri="{FF2B5EF4-FFF2-40B4-BE49-F238E27FC236}">
                        <a16:creationId xmlns:a16="http://schemas.microsoft.com/office/drawing/2014/main" id="{0E5CE040-C0D3-40BD-8063-A2DF101E8B8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black">
                  <a:xfrm>
                    <a:off x="6601574" y="5691896"/>
                    <a:ext cx="597318" cy="128196"/>
                  </a:xfrm>
                  <a:prstGeom prst="rect">
                    <a:avLst/>
                  </a:prstGeom>
                </p:spPr>
              </p:pic>
            </p:grpSp>
          </p:grpSp>
        </p:grpSp>
        <p:sp>
          <p:nvSpPr>
            <p:cNvPr id="272" name="TextBox 271"/>
            <p:cNvSpPr txBox="1"/>
            <p:nvPr/>
          </p:nvSpPr>
          <p:spPr>
            <a:xfrm>
              <a:off x="2906828" y="688624"/>
              <a:ext cx="2135200" cy="207749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350" b="1" dirty="0" smtClean="0">
                  <a:solidFill>
                    <a:schemeClr val="tx2"/>
                  </a:solidFill>
                </a:rPr>
                <a:t>BHF Current </a:t>
              </a:r>
              <a:r>
                <a:rPr lang="en-US" sz="1350" b="1" dirty="0">
                  <a:solidFill>
                    <a:schemeClr val="tx2"/>
                  </a:solidFill>
                </a:rPr>
                <a:t>Environment</a:t>
              </a:r>
            </a:p>
          </p:txBody>
        </p:sp>
        <p:sp>
          <p:nvSpPr>
            <p:cNvPr id="273" name="TextBox 272"/>
            <p:cNvSpPr txBox="1"/>
            <p:nvPr/>
          </p:nvSpPr>
          <p:spPr>
            <a:xfrm>
              <a:off x="7180149" y="677659"/>
              <a:ext cx="2026196" cy="207749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350" b="1" dirty="0" smtClean="0">
                  <a:solidFill>
                    <a:schemeClr val="tx2"/>
                  </a:solidFill>
                </a:rPr>
                <a:t>BHF Target </a:t>
              </a:r>
              <a:r>
                <a:rPr lang="en-US" sz="1350" b="1" dirty="0">
                  <a:solidFill>
                    <a:schemeClr val="tx2"/>
                  </a:solidFill>
                </a:rPr>
                <a:t>Environment</a:t>
              </a:r>
            </a:p>
          </p:txBody>
        </p:sp>
      </p:grpSp>
      <p:sp>
        <p:nvSpPr>
          <p:cNvPr id="274" name="Rounded Rectangle 273"/>
          <p:cNvSpPr/>
          <p:nvPr/>
        </p:nvSpPr>
        <p:spPr>
          <a:xfrm>
            <a:off x="4817916" y="6391433"/>
            <a:ext cx="1689670" cy="205740"/>
          </a:xfrm>
          <a:prstGeom prst="roundRect">
            <a:avLst/>
          </a:prstGeom>
          <a:solidFill>
            <a:srgbClr val="FF8F1C"/>
          </a:solidFill>
          <a:ln w="3175">
            <a:solidFill>
              <a:schemeClr val="tx2">
                <a:alpha val="3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ommission in progress</a:t>
            </a:r>
          </a:p>
        </p:txBody>
      </p:sp>
      <p:sp>
        <p:nvSpPr>
          <p:cNvPr id="275" name="Rectangle 274"/>
          <p:cNvSpPr/>
          <p:nvPr/>
        </p:nvSpPr>
        <p:spPr>
          <a:xfrm>
            <a:off x="4186844" y="6391433"/>
            <a:ext cx="595036" cy="230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US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end</a:t>
            </a:r>
          </a:p>
        </p:txBody>
      </p:sp>
      <p:pic>
        <p:nvPicPr>
          <p:cNvPr id="276" name="Picture 8" descr="Image result for office building PNG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4161" y="4662788"/>
            <a:ext cx="380642" cy="223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7" name="TextBox 276"/>
          <p:cNvSpPr txBox="1"/>
          <p:nvPr/>
        </p:nvSpPr>
        <p:spPr>
          <a:xfrm>
            <a:off x="4615855" y="4939402"/>
            <a:ext cx="497252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defTabSz="685800">
              <a:defRPr/>
            </a:pPr>
            <a:r>
              <a:rPr lang="en-US" sz="675" dirty="0" smtClean="0">
                <a:solidFill>
                  <a:prstClr val="black"/>
                </a:solidFill>
                <a:latin typeface="+mj-lt"/>
              </a:rPr>
              <a:t>Phoenix</a:t>
            </a:r>
            <a:endParaRPr lang="en-US" sz="675" dirty="0">
              <a:solidFill>
                <a:prstClr val="black"/>
              </a:solidFill>
              <a:latin typeface="+mj-lt"/>
            </a:endParaRPr>
          </a:p>
        </p:txBody>
      </p:sp>
      <p:pic>
        <p:nvPicPr>
          <p:cNvPr id="278" name="Picture 8" descr="Image result for office building PNG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43982" y="4675568"/>
            <a:ext cx="380642" cy="223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9" name="TextBox 278"/>
          <p:cNvSpPr txBox="1"/>
          <p:nvPr/>
        </p:nvSpPr>
        <p:spPr>
          <a:xfrm>
            <a:off x="10085676" y="4952182"/>
            <a:ext cx="497252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defTabSz="685800">
              <a:defRPr/>
            </a:pPr>
            <a:r>
              <a:rPr lang="en-US" sz="675" dirty="0" smtClean="0">
                <a:solidFill>
                  <a:prstClr val="black"/>
                </a:solidFill>
                <a:latin typeface="+mj-lt"/>
              </a:rPr>
              <a:t>Phoenix</a:t>
            </a:r>
            <a:endParaRPr lang="en-US" sz="675" dirty="0">
              <a:solidFill>
                <a:prstClr val="black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81031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4" y="209007"/>
            <a:ext cx="11180064" cy="1060704"/>
          </a:xfrm>
        </p:spPr>
        <p:txBody>
          <a:bodyPr/>
          <a:lstStyle/>
          <a:p>
            <a:r>
              <a:rPr lang="en-US" dirty="0" smtClean="0"/>
              <a:t>Overall Target Operating Mod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115785" y="596367"/>
            <a:ext cx="11923815" cy="5550433"/>
            <a:chOff x="115785" y="520167"/>
            <a:chExt cx="8769171" cy="4128917"/>
          </a:xfrm>
        </p:grpSpPr>
        <p:sp>
          <p:nvSpPr>
            <p:cNvPr id="276" name="Rounded Rectangle 275"/>
            <p:cNvSpPr/>
            <p:nvPr/>
          </p:nvSpPr>
          <p:spPr>
            <a:xfrm>
              <a:off x="3104936" y="1343358"/>
              <a:ext cx="2135158" cy="857527"/>
            </a:xfrm>
            <a:prstGeom prst="roundRect">
              <a:avLst>
                <a:gd name="adj" fmla="val 0"/>
              </a:avLst>
            </a:prstGeom>
            <a:solidFill>
              <a:srgbClr val="00B140"/>
            </a:solidFill>
            <a:ln w="38100" cap="flat" cmpd="sng" algn="ctr">
              <a:solidFill>
                <a:srgbClr val="0033A0"/>
              </a:solidFill>
              <a:prstDash val="solid"/>
            </a:ln>
            <a:effectLst/>
          </p:spPr>
          <p:txBody>
            <a:bodyPr lIns="89148" tIns="44574" rIns="89148" bIns="44574" rtlCol="0" anchor="t"/>
            <a:lstStyle/>
            <a:p>
              <a:pPr algn="ctr" defTabSz="795846">
                <a:defRPr/>
              </a:pPr>
              <a:endParaRPr lang="en-US" sz="671" b="1" kern="0" dirty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277" name="Rounded Rectangle 276"/>
            <p:cNvSpPr/>
            <p:nvPr/>
          </p:nvSpPr>
          <p:spPr>
            <a:xfrm>
              <a:off x="888515" y="735723"/>
              <a:ext cx="683873" cy="548640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solidFill>
                <a:srgbClr val="00B140">
                  <a:lumMod val="75000"/>
                </a:srgbClr>
              </a:solidFill>
              <a:prstDash val="solid"/>
            </a:ln>
            <a:effectLst/>
          </p:spPr>
          <p:txBody>
            <a:bodyPr lIns="89148" tIns="44574" rIns="89148" bIns="44574" rtlCol="0" anchor="t"/>
            <a:lstStyle/>
            <a:p>
              <a:pPr marL="0" marR="0" lvl="0" indent="0" algn="ctr" defTabSz="795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1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278" name="Rectangle 277"/>
            <p:cNvSpPr/>
            <p:nvPr/>
          </p:nvSpPr>
          <p:spPr>
            <a:xfrm>
              <a:off x="119089" y="735723"/>
              <a:ext cx="722493" cy="548640"/>
            </a:xfrm>
            <a:prstGeom prst="rect">
              <a:avLst/>
            </a:prstGeom>
            <a:solidFill>
              <a:srgbClr val="00B140"/>
            </a:solidFill>
            <a:ln w="25400" cap="flat" cmpd="sng" algn="ctr">
              <a:noFill/>
              <a:prstDash val="solid"/>
            </a:ln>
            <a:effectLst/>
          </p:spPr>
          <p:txBody>
            <a:bodyPr lIns="83661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36490">
                <a:defRPr/>
              </a:pPr>
              <a:r>
                <a:rPr lang="en-US" sz="900" b="1" kern="0" dirty="0">
                  <a:solidFill>
                    <a:sysClr val="window" lastClr="FFFFFF"/>
                  </a:solidFill>
                  <a:cs typeface="Arial" panose="020B0604020202020204" pitchFamily="34" charset="0"/>
                </a:rPr>
                <a:t>BHF IT Landscape</a:t>
              </a:r>
            </a:p>
          </p:txBody>
        </p:sp>
        <p:sp>
          <p:nvSpPr>
            <p:cNvPr id="279" name="Rectangle 278"/>
            <p:cNvSpPr/>
            <p:nvPr/>
          </p:nvSpPr>
          <p:spPr>
            <a:xfrm>
              <a:off x="121978" y="2530985"/>
              <a:ext cx="723094" cy="1792867"/>
            </a:xfrm>
            <a:prstGeom prst="rect">
              <a:avLst/>
            </a:prstGeom>
            <a:solidFill>
              <a:srgbClr val="0033A0"/>
            </a:solidFill>
            <a:ln w="25400" cap="flat" cmpd="sng" algn="ctr">
              <a:noFill/>
              <a:prstDash val="solid"/>
            </a:ln>
            <a:effectLst/>
          </p:spPr>
          <p:txBody>
            <a:bodyPr lIns="83661" tIns="0" rIns="0" bIns="0" rtlCol="0" anchor="ctr"/>
            <a:lstStyle/>
            <a:p>
              <a:pPr defTabSz="836490">
                <a:defRPr/>
              </a:pPr>
              <a:r>
                <a:rPr lang="en-US" sz="900" b="1" kern="0" dirty="0">
                  <a:solidFill>
                    <a:sysClr val="window" lastClr="FFFFFF"/>
                  </a:solidFill>
                  <a:cs typeface="Arial" panose="020B0604020202020204" pitchFamily="34" charset="0"/>
                </a:rPr>
                <a:t>Integrated Smart Operations</a:t>
              </a:r>
            </a:p>
          </p:txBody>
        </p:sp>
        <p:sp>
          <p:nvSpPr>
            <p:cNvPr id="280" name="Rectangle 279"/>
            <p:cNvSpPr/>
            <p:nvPr/>
          </p:nvSpPr>
          <p:spPr>
            <a:xfrm>
              <a:off x="879741" y="941695"/>
              <a:ext cx="69264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96338">
                <a:defRPr/>
              </a:pPr>
              <a:r>
                <a:rPr lang="en-US" sz="900" kern="0" dirty="0">
                  <a:solidFill>
                    <a:prstClr val="black"/>
                  </a:solidFill>
                  <a:cs typeface="Calibri" panose="020F0502020204030204" pitchFamily="34" charset="0"/>
                </a:rPr>
                <a:t>BHF Users</a:t>
              </a:r>
            </a:p>
          </p:txBody>
        </p:sp>
        <p:sp>
          <p:nvSpPr>
            <p:cNvPr id="281" name="Text Box 64"/>
            <p:cNvSpPr txBox="1">
              <a:spLocks noChangeArrowheads="1"/>
            </p:cNvSpPr>
            <p:nvPr/>
          </p:nvSpPr>
          <p:spPr bwMode="auto">
            <a:xfrm rot="16200000">
              <a:off x="6489584" y="2575948"/>
              <a:ext cx="3896149" cy="250124"/>
            </a:xfrm>
            <a:prstGeom prst="rect">
              <a:avLst/>
            </a:prstGeom>
            <a:solidFill>
              <a:srgbClr val="BFBFBF"/>
            </a:solidFill>
            <a:ln w="12700" cap="flat" cmpd="sng" algn="ctr">
              <a:solidFill>
                <a:srgbClr val="00B140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R="0" lvl="0" indent="0" algn="ct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algn="ctr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</a:rPr>
                <a:t>Service Desk</a:t>
              </a:r>
            </a:p>
          </p:txBody>
        </p:sp>
        <p:sp>
          <p:nvSpPr>
            <p:cNvPr id="282" name="Rectangle 281"/>
            <p:cNvSpPr/>
            <p:nvPr/>
          </p:nvSpPr>
          <p:spPr>
            <a:xfrm>
              <a:off x="1695526" y="735723"/>
              <a:ext cx="1672966" cy="548640"/>
            </a:xfrm>
            <a:prstGeom prst="rect">
              <a:avLst/>
            </a:prstGeom>
            <a:noFill/>
            <a:ln w="12700" cap="flat" cmpd="sng" algn="ctr">
              <a:solidFill>
                <a:srgbClr val="00B140">
                  <a:lumMod val="75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44573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Public Cloud</a:t>
              </a:r>
            </a:p>
          </p:txBody>
        </p:sp>
        <p:sp>
          <p:nvSpPr>
            <p:cNvPr id="283" name="Rectangle 282"/>
            <p:cNvSpPr/>
            <p:nvPr/>
          </p:nvSpPr>
          <p:spPr>
            <a:xfrm>
              <a:off x="5287732" y="735723"/>
              <a:ext cx="891540" cy="548640"/>
            </a:xfrm>
            <a:prstGeom prst="rect">
              <a:avLst/>
            </a:prstGeom>
            <a:noFill/>
            <a:ln w="12700" cap="flat" cmpd="sng" algn="ctr">
              <a:solidFill>
                <a:srgbClr val="00B140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4573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SaaS</a:t>
              </a:r>
            </a:p>
          </p:txBody>
        </p:sp>
        <p:sp>
          <p:nvSpPr>
            <p:cNvPr id="284" name="Rounded Rectangle 283"/>
            <p:cNvSpPr/>
            <p:nvPr/>
          </p:nvSpPr>
          <p:spPr>
            <a:xfrm>
              <a:off x="888515" y="4382565"/>
              <a:ext cx="7329153" cy="259034"/>
            </a:xfrm>
            <a:prstGeom prst="roundRect">
              <a:avLst>
                <a:gd name="adj" fmla="val 0"/>
              </a:avLst>
            </a:prstGeom>
            <a:solidFill>
              <a:srgbClr val="CAD9FF"/>
            </a:solidFill>
            <a:ln w="28575" cap="flat" cmpd="sng" algn="ctr">
              <a:solidFill>
                <a:srgbClr val="0033A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35631">
                <a:defRPr/>
              </a:pPr>
              <a:r>
                <a:rPr lang="en-US" sz="900" kern="0" dirty="0">
                  <a:solidFill>
                    <a:prstClr val="black"/>
                  </a:solidFill>
                  <a:cs typeface="Calibri" panose="020F0502020204030204" pitchFamily="34" charset="0"/>
                </a:rPr>
                <a:t>Centers of Excellence | Innovation council | HR | Finance | Contract Management | Partners/Alliances | Domain Consultants</a:t>
              </a:r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121978" y="4382565"/>
              <a:ext cx="723094" cy="259034"/>
            </a:xfrm>
            <a:prstGeom prst="rect">
              <a:avLst/>
            </a:prstGeom>
            <a:solidFill>
              <a:srgbClr val="0033A0"/>
            </a:solidFill>
            <a:ln w="25400" cap="flat" cmpd="sng" algn="ctr">
              <a:noFill/>
              <a:prstDash val="solid"/>
            </a:ln>
            <a:effectLst/>
          </p:spPr>
          <p:txBody>
            <a:bodyPr lIns="83661" tIns="0" rIns="0" bIns="0" rtlCol="0" anchor="ctr"/>
            <a:lstStyle/>
            <a:p>
              <a:pPr defTabSz="836490">
                <a:defRPr/>
              </a:pPr>
              <a:r>
                <a:rPr lang="en-US" sz="900" b="1" kern="0" dirty="0">
                  <a:solidFill>
                    <a:sysClr val="window" lastClr="FFFFFF"/>
                  </a:solidFill>
                  <a:cs typeface="Arial" panose="020B0604020202020204" pitchFamily="34" charset="0"/>
                </a:rPr>
                <a:t>Supporting Functions</a:t>
              </a:r>
            </a:p>
          </p:txBody>
        </p:sp>
        <p:pic>
          <p:nvPicPr>
            <p:cNvPr id="286" name="Picture 4" descr="Related image"/>
            <p:cNvPicPr>
              <a:picLocks noChangeAspect="1" noChangeArrowheads="1"/>
            </p:cNvPicPr>
            <p:nvPr/>
          </p:nvPicPr>
          <p:blipFill>
            <a:blip r:embed="rId2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6614" y="718911"/>
              <a:ext cx="406794" cy="325435"/>
            </a:xfrm>
            <a:prstGeom prst="rect">
              <a:avLst/>
            </a:prstGeom>
            <a:noFill/>
          </p:spPr>
        </p:pic>
        <p:sp>
          <p:nvSpPr>
            <p:cNvPr id="287" name="Rectangle 286"/>
            <p:cNvSpPr/>
            <p:nvPr/>
          </p:nvSpPr>
          <p:spPr>
            <a:xfrm flipH="1">
              <a:off x="119087" y="1328602"/>
              <a:ext cx="723093" cy="890759"/>
            </a:xfrm>
            <a:prstGeom prst="rect">
              <a:avLst/>
            </a:prstGeom>
            <a:gradFill>
              <a:gsLst>
                <a:gs pos="50000">
                  <a:srgbClr val="00B140">
                    <a:lumMod val="60000"/>
                    <a:lumOff val="40000"/>
                  </a:srgbClr>
                </a:gs>
                <a:gs pos="0">
                  <a:srgbClr val="BFBFBF"/>
                </a:gs>
                <a:gs pos="100000">
                  <a:srgbClr val="0033A0"/>
                </a:gs>
              </a:gsLst>
              <a:lin ang="54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8364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panose="020B0604020202020204" pitchFamily="34" charset="0"/>
                </a:rPr>
                <a:t>Tools</a:t>
              </a:r>
            </a:p>
          </p:txBody>
        </p:sp>
        <p:sp>
          <p:nvSpPr>
            <p:cNvPr id="288" name="Rectangle 287"/>
            <p:cNvSpPr/>
            <p:nvPr/>
          </p:nvSpPr>
          <p:spPr>
            <a:xfrm>
              <a:off x="121978" y="520167"/>
              <a:ext cx="8762978" cy="186439"/>
            </a:xfrm>
            <a:prstGeom prst="rect">
              <a:avLst/>
            </a:prstGeom>
            <a:solidFill>
              <a:srgbClr val="00B14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HF Retained Organization – Enterprise IT Strategy | Architecture | Governance | Infrastructure Planning</a:t>
              </a:r>
            </a:p>
          </p:txBody>
        </p:sp>
        <p:pic>
          <p:nvPicPr>
            <p:cNvPr id="289" name="Picture 288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73878" y="978625"/>
              <a:ext cx="368880" cy="231308"/>
            </a:xfrm>
            <a:prstGeom prst="rect">
              <a:avLst/>
            </a:prstGeom>
          </p:spPr>
        </p:pic>
        <p:pic>
          <p:nvPicPr>
            <p:cNvPr id="290" name="Picture 289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85477" y="1009874"/>
              <a:ext cx="477901" cy="128104"/>
            </a:xfrm>
            <a:prstGeom prst="rect">
              <a:avLst/>
            </a:prstGeom>
          </p:spPr>
        </p:pic>
        <p:sp>
          <p:nvSpPr>
            <p:cNvPr id="291" name="Rectangle 290"/>
            <p:cNvSpPr/>
            <p:nvPr/>
          </p:nvSpPr>
          <p:spPr>
            <a:xfrm>
              <a:off x="948654" y="2787379"/>
              <a:ext cx="7252122" cy="257181"/>
            </a:xfrm>
            <a:prstGeom prst="rect">
              <a:avLst/>
            </a:prstGeom>
            <a:solidFill>
              <a:srgbClr val="CAD9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4350">
                <a:defRPr/>
              </a:pPr>
              <a:r>
                <a:rPr lang="en-US" sz="825" kern="0" dirty="0">
                  <a:solidFill>
                    <a:srgbClr val="E7E6E6">
                      <a:lumMod val="25000"/>
                    </a:srgbClr>
                  </a:solidFill>
                  <a:latin typeface="Calibri" panose="020F0502020204030204"/>
                </a:rPr>
                <a:t>Backup | Patch Management | Reporting | Incident Response &amp; Tracking | Coordination | Security Monitoring </a:t>
              </a:r>
              <a:endParaRPr lang="en-US" sz="825" kern="0" dirty="0">
                <a:solidFill>
                  <a:srgbClr val="FF0000"/>
                </a:solidFill>
                <a:latin typeface="Calibri" panose="020F0502020204030204"/>
              </a:endParaRPr>
            </a:p>
          </p:txBody>
        </p:sp>
        <p:sp>
          <p:nvSpPr>
            <p:cNvPr id="292" name="Rectangle 291"/>
            <p:cNvSpPr/>
            <p:nvPr/>
          </p:nvSpPr>
          <p:spPr>
            <a:xfrm>
              <a:off x="948655" y="2561931"/>
              <a:ext cx="7252121" cy="173591"/>
            </a:xfrm>
            <a:prstGeom prst="rect">
              <a:avLst/>
            </a:prstGeom>
            <a:solidFill>
              <a:srgbClr val="0033A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Integrated Operations Support for Cloud, Network, EUC - (24x7) &amp; Security Operations Center (24x7)</a:t>
              </a:r>
            </a:p>
          </p:txBody>
        </p:sp>
        <p:sp>
          <p:nvSpPr>
            <p:cNvPr id="293" name="Rectangle 292"/>
            <p:cNvSpPr/>
            <p:nvPr/>
          </p:nvSpPr>
          <p:spPr>
            <a:xfrm>
              <a:off x="892005" y="2530985"/>
              <a:ext cx="7326129" cy="547872"/>
            </a:xfrm>
            <a:prstGeom prst="rect">
              <a:avLst/>
            </a:prstGeom>
            <a:noFill/>
            <a:ln w="127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tIns="25718" rtlCol="0" anchor="t"/>
            <a:lstStyle/>
            <a:p>
              <a:pPr algn="ctr" defTabSz="514350">
                <a:defRPr/>
              </a:pPr>
              <a:endParaRPr lang="en-US" sz="788" kern="0" dirty="0">
                <a:solidFill>
                  <a:srgbClr val="E7E6E6">
                    <a:lumMod val="25000"/>
                  </a:srgbClr>
                </a:solidFill>
                <a:latin typeface="Calibri" panose="020F0502020204030204"/>
              </a:endParaRPr>
            </a:p>
          </p:txBody>
        </p:sp>
        <p:grpSp>
          <p:nvGrpSpPr>
            <p:cNvPr id="294" name="Group 293"/>
            <p:cNvGrpSpPr/>
            <p:nvPr/>
          </p:nvGrpSpPr>
          <p:grpSpPr>
            <a:xfrm>
              <a:off x="901261" y="3138646"/>
              <a:ext cx="1464104" cy="890520"/>
              <a:chOff x="1201680" y="4176241"/>
              <a:chExt cx="1952139" cy="1187360"/>
            </a:xfrm>
          </p:grpSpPr>
          <p:sp>
            <p:nvSpPr>
              <p:cNvPr id="295" name="Round Same Side Corner Rectangle 294"/>
              <p:cNvSpPr/>
              <p:nvPr/>
            </p:nvSpPr>
            <p:spPr>
              <a:xfrm>
                <a:off x="1201680" y="4176241"/>
                <a:ext cx="1946362" cy="274763"/>
              </a:xfrm>
              <a:prstGeom prst="round2SameRect">
                <a:avLst/>
              </a:prstGeom>
              <a:solidFill>
                <a:srgbClr val="0033A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Cloud</a:t>
                </a:r>
              </a:p>
            </p:txBody>
          </p:sp>
          <p:sp>
            <p:nvSpPr>
              <p:cNvPr id="296" name="Rounded Rectangle 295"/>
              <p:cNvSpPr/>
              <p:nvPr/>
            </p:nvSpPr>
            <p:spPr>
              <a:xfrm>
                <a:off x="1230227" y="4529289"/>
                <a:ext cx="1923592" cy="834312"/>
              </a:xfrm>
              <a:prstGeom prst="roundRect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Cloud Architects </a:t>
                </a:r>
              </a:p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&amp; Admins</a:t>
                </a:r>
              </a:p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Cloud Operations | Cost Management</a:t>
                </a:r>
              </a:p>
            </p:txBody>
          </p:sp>
        </p:grpSp>
        <p:sp>
          <p:nvSpPr>
            <p:cNvPr id="297" name="Rectangle 296"/>
            <p:cNvSpPr/>
            <p:nvPr/>
          </p:nvSpPr>
          <p:spPr>
            <a:xfrm flipH="1">
              <a:off x="115785" y="2253873"/>
              <a:ext cx="723093" cy="217457"/>
            </a:xfrm>
            <a:prstGeom prst="rect">
              <a:avLst/>
            </a:prstGeom>
            <a:solidFill>
              <a:srgbClr val="0033A0"/>
            </a:solidFill>
            <a:ln w="25400" cap="flat" cmpd="sng" algn="ctr">
              <a:noFill/>
              <a:prstDash val="solid"/>
            </a:ln>
            <a:effectLst/>
          </p:spPr>
          <p:txBody>
            <a:bodyPr lIns="83661" tIns="0" rIns="0" bIns="0" rtlCol="0" anchor="ctr"/>
            <a:lstStyle/>
            <a:p>
              <a:pPr defTabSz="836490">
                <a:defRPr/>
              </a:pPr>
              <a:r>
                <a:rPr lang="en-US" sz="900" b="1" kern="0" dirty="0">
                  <a:solidFill>
                    <a:sysClr val="window" lastClr="FFFFFF"/>
                  </a:solidFill>
                  <a:cs typeface="Arial" panose="020B0604020202020204" pitchFamily="34" charset="0"/>
                </a:rPr>
                <a:t>Platform</a:t>
              </a:r>
            </a:p>
          </p:txBody>
        </p:sp>
        <p:sp>
          <p:nvSpPr>
            <p:cNvPr id="298" name="Rectangle 297"/>
            <p:cNvSpPr/>
            <p:nvPr/>
          </p:nvSpPr>
          <p:spPr>
            <a:xfrm>
              <a:off x="888515" y="2254814"/>
              <a:ext cx="7326129" cy="235481"/>
            </a:xfrm>
            <a:prstGeom prst="rect">
              <a:avLst/>
            </a:prstGeom>
            <a:solidFill>
              <a:srgbClr val="0033A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Cyber Threat Defense Platform</a:t>
              </a:r>
            </a:p>
          </p:txBody>
        </p:sp>
        <p:sp>
          <p:nvSpPr>
            <p:cNvPr id="299" name="Rectangle 298"/>
            <p:cNvSpPr/>
            <p:nvPr/>
          </p:nvSpPr>
          <p:spPr>
            <a:xfrm rot="16200000">
              <a:off x="6808291" y="2555206"/>
              <a:ext cx="3896149" cy="257181"/>
            </a:xfrm>
            <a:prstGeom prst="rect">
              <a:avLst/>
            </a:prstGeom>
            <a:solidFill>
              <a:srgbClr val="BFBFBF"/>
            </a:solidFill>
            <a:ln w="12700" cap="flat" cmpd="sng" algn="ctr">
              <a:solidFill>
                <a:srgbClr val="00B140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</a:rPr>
                <a:t>Service Management Office</a:t>
              </a:r>
            </a:p>
          </p:txBody>
        </p:sp>
        <p:sp>
          <p:nvSpPr>
            <p:cNvPr id="300" name="Rectangle 299"/>
            <p:cNvSpPr/>
            <p:nvPr/>
          </p:nvSpPr>
          <p:spPr>
            <a:xfrm>
              <a:off x="901260" y="4112253"/>
              <a:ext cx="7316408" cy="183962"/>
            </a:xfrm>
            <a:prstGeom prst="rect">
              <a:avLst/>
            </a:prstGeom>
            <a:solidFill>
              <a:srgbClr val="0033A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Enterprise Architects | ITSM / SIAM Liaison | Delivery </a:t>
              </a:r>
              <a:r>
                <a:rPr kumimoji="0" lang="en-US" sz="9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Mgmt</a:t>
              </a: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| Automation | Capacity &amp; Performance </a:t>
              </a:r>
              <a:r>
                <a:rPr kumimoji="0" lang="en-US" sz="9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Mgmt</a:t>
              </a: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| Contract </a:t>
              </a:r>
              <a:r>
                <a:rPr kumimoji="0" lang="en-US" sz="9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Mgmt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Rectangle 300"/>
            <p:cNvSpPr/>
            <p:nvPr/>
          </p:nvSpPr>
          <p:spPr>
            <a:xfrm>
              <a:off x="3491629" y="735723"/>
              <a:ext cx="1672966" cy="548640"/>
            </a:xfrm>
            <a:prstGeom prst="rect">
              <a:avLst/>
            </a:prstGeom>
            <a:noFill/>
            <a:ln w="12700" cap="flat" cmpd="sng" algn="ctr">
              <a:solidFill>
                <a:srgbClr val="00B140">
                  <a:lumMod val="75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44573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Dedicated Hosting</a:t>
              </a:r>
            </a:p>
          </p:txBody>
        </p:sp>
        <p:pic>
          <p:nvPicPr>
            <p:cNvPr id="302" name="Picture 4" descr="Image result for openshift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1050" y="878983"/>
              <a:ext cx="277001" cy="351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3" name="Rectangle 302"/>
            <p:cNvSpPr/>
            <p:nvPr/>
          </p:nvSpPr>
          <p:spPr>
            <a:xfrm>
              <a:off x="6302409" y="735723"/>
              <a:ext cx="891540" cy="548640"/>
            </a:xfrm>
            <a:prstGeom prst="rect">
              <a:avLst/>
            </a:prstGeom>
            <a:noFill/>
            <a:ln w="12700" cap="flat" cmpd="sng" algn="ctr">
              <a:solidFill>
                <a:srgbClr val="00B140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4573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Equinix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 </a:t>
              </a: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Colo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 DCs</a:t>
              </a:r>
            </a:p>
          </p:txBody>
        </p:sp>
        <p:sp>
          <p:nvSpPr>
            <p:cNvPr id="304" name="Rectangle 303"/>
            <p:cNvSpPr/>
            <p:nvPr/>
          </p:nvSpPr>
          <p:spPr>
            <a:xfrm>
              <a:off x="7317085" y="741117"/>
              <a:ext cx="891540" cy="548640"/>
            </a:xfrm>
            <a:prstGeom prst="rect">
              <a:avLst/>
            </a:prstGeom>
            <a:noFill/>
            <a:ln w="12700" cap="flat" cmpd="sng" algn="ctr">
              <a:solidFill>
                <a:srgbClr val="00B140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4573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41414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BHF Sites</a:t>
              </a:r>
            </a:p>
          </p:txBody>
        </p:sp>
        <p:grpSp>
          <p:nvGrpSpPr>
            <p:cNvPr id="305" name="Group 304"/>
            <p:cNvGrpSpPr/>
            <p:nvPr/>
          </p:nvGrpSpPr>
          <p:grpSpPr>
            <a:xfrm>
              <a:off x="2405160" y="3137126"/>
              <a:ext cx="1423374" cy="893561"/>
              <a:chOff x="3748658" y="4176241"/>
              <a:chExt cx="1897832" cy="1191415"/>
            </a:xfrm>
          </p:grpSpPr>
          <p:sp>
            <p:nvSpPr>
              <p:cNvPr id="306" name="Round Same Side Corner Rectangle 305"/>
              <p:cNvSpPr/>
              <p:nvPr/>
            </p:nvSpPr>
            <p:spPr>
              <a:xfrm>
                <a:off x="3752188" y="4176241"/>
                <a:ext cx="1894302" cy="275001"/>
              </a:xfrm>
              <a:prstGeom prst="round2SameRect">
                <a:avLst/>
              </a:prstGeom>
              <a:solidFill>
                <a:srgbClr val="0033A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Network</a:t>
                </a:r>
              </a:p>
            </p:txBody>
          </p:sp>
          <p:sp>
            <p:nvSpPr>
              <p:cNvPr id="307" name="Rounded Rectangle 306"/>
              <p:cNvSpPr/>
              <p:nvPr/>
            </p:nvSpPr>
            <p:spPr>
              <a:xfrm>
                <a:off x="3748658" y="4533344"/>
                <a:ext cx="1872488" cy="834312"/>
              </a:xfrm>
              <a:prstGeom prst="roundRect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Network Architects &amp; Engineers</a:t>
                </a:r>
              </a:p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LAN |  VPN </a:t>
                </a:r>
              </a:p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| WAN | ECX</a:t>
                </a:r>
              </a:p>
            </p:txBody>
          </p:sp>
        </p:grpSp>
        <p:grpSp>
          <p:nvGrpSpPr>
            <p:cNvPr id="308" name="Group 307"/>
            <p:cNvGrpSpPr/>
            <p:nvPr/>
          </p:nvGrpSpPr>
          <p:grpSpPr>
            <a:xfrm>
              <a:off x="3868330" y="3135604"/>
              <a:ext cx="1420727" cy="896603"/>
              <a:chOff x="6200580" y="4176241"/>
              <a:chExt cx="1894302" cy="1195470"/>
            </a:xfrm>
          </p:grpSpPr>
          <p:sp>
            <p:nvSpPr>
              <p:cNvPr id="309" name="Round Same Side Corner Rectangle 308"/>
              <p:cNvSpPr/>
              <p:nvPr/>
            </p:nvSpPr>
            <p:spPr>
              <a:xfrm>
                <a:off x="6200580" y="4176241"/>
                <a:ext cx="1894302" cy="275001"/>
              </a:xfrm>
              <a:prstGeom prst="round2SameRect">
                <a:avLst/>
              </a:prstGeom>
              <a:solidFill>
                <a:srgbClr val="0033A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EUC</a:t>
                </a:r>
              </a:p>
            </p:txBody>
          </p:sp>
          <p:sp>
            <p:nvSpPr>
              <p:cNvPr id="310" name="Rounded Rectangle 309"/>
              <p:cNvSpPr/>
              <p:nvPr/>
            </p:nvSpPr>
            <p:spPr>
              <a:xfrm>
                <a:off x="6205057" y="4537399"/>
                <a:ext cx="1872488" cy="834312"/>
              </a:xfrm>
              <a:prstGeom prst="roundRect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Device Technicians &amp; Desktop Engineers</a:t>
                </a:r>
              </a:p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Desktop </a:t>
                </a:r>
                <a:r>
                  <a:rPr kumimoji="0" lang="en-US" sz="825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Engg</a:t>
                </a:r>
                <a:r>
                  <a:rPr kumimoji="0" lang="en-US" sz="82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. | VDI | MDM | O365</a:t>
                </a:r>
              </a:p>
            </p:txBody>
          </p:sp>
        </p:grpSp>
        <p:grpSp>
          <p:nvGrpSpPr>
            <p:cNvPr id="311" name="Group 310"/>
            <p:cNvGrpSpPr/>
            <p:nvPr/>
          </p:nvGrpSpPr>
          <p:grpSpPr>
            <a:xfrm>
              <a:off x="5328853" y="3135604"/>
              <a:ext cx="1421303" cy="896603"/>
              <a:chOff x="8638873" y="4164076"/>
              <a:chExt cx="1895071" cy="1195470"/>
            </a:xfrm>
          </p:grpSpPr>
          <p:sp>
            <p:nvSpPr>
              <p:cNvPr id="312" name="Round Same Side Corner Rectangle 311"/>
              <p:cNvSpPr/>
              <p:nvPr/>
            </p:nvSpPr>
            <p:spPr>
              <a:xfrm>
                <a:off x="8638873" y="4164076"/>
                <a:ext cx="1894302" cy="275001"/>
              </a:xfrm>
              <a:prstGeom prst="round2SameRect">
                <a:avLst/>
              </a:prstGeom>
              <a:solidFill>
                <a:srgbClr val="0033A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Security</a:t>
                </a:r>
              </a:p>
            </p:txBody>
          </p:sp>
          <p:sp>
            <p:nvSpPr>
              <p:cNvPr id="313" name="Rounded Rectangle 312"/>
              <p:cNvSpPr/>
              <p:nvPr/>
            </p:nvSpPr>
            <p:spPr>
              <a:xfrm>
                <a:off x="8661456" y="4525234"/>
                <a:ext cx="1872488" cy="834312"/>
              </a:xfrm>
              <a:prstGeom prst="roundRect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Security Architect &amp; Consultants</a:t>
                </a:r>
                <a:endParaRPr kumimoji="0" lang="en-US" sz="825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End point protection | </a:t>
                </a:r>
              </a:p>
              <a:p>
                <a:pPr marL="0" marR="0" lvl="0" indent="0" algn="ctr" defTabSz="68578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IDS/IPS | VM | DLP | IAM | DS</a:t>
                </a:r>
              </a:p>
            </p:txBody>
          </p:sp>
        </p:grpSp>
        <p:sp>
          <p:nvSpPr>
            <p:cNvPr id="314" name="Rounded Rectangle 313"/>
            <p:cNvSpPr/>
            <p:nvPr/>
          </p:nvSpPr>
          <p:spPr>
            <a:xfrm>
              <a:off x="901259" y="1343623"/>
              <a:ext cx="2125980" cy="857262"/>
            </a:xfrm>
            <a:prstGeom prst="roundRect">
              <a:avLst>
                <a:gd name="adj" fmla="val 0"/>
              </a:avLst>
            </a:prstGeom>
            <a:solidFill>
              <a:srgbClr val="BFBFBF"/>
            </a:solidFill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  <p:txBody>
            <a:bodyPr lIns="89148" tIns="44574" rIns="89148" bIns="44574" rtlCol="0" anchor="t"/>
            <a:lstStyle/>
            <a:p>
              <a:pPr marL="0" marR="0" lvl="0" indent="0" algn="ctr" defTabSz="795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1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pic>
          <p:nvPicPr>
            <p:cNvPr id="315" name="Picture 6" descr="Image result for zabbix logo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0300" y="1632592"/>
              <a:ext cx="560483" cy="132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6" name="Picture 4" descr="Image result for servicenow logo"/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04699" y="1593678"/>
              <a:ext cx="1126787" cy="178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7" name="Picture 2" descr="Image result for moogsoft"/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2274" t="15042" r="15350" b="11625"/>
            <a:stretch/>
          </p:blipFill>
          <p:spPr bwMode="auto">
            <a:xfrm>
              <a:off x="967598" y="1838072"/>
              <a:ext cx="574922" cy="266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8" name="Picture 12" descr="Image result for appdynamics logo"/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39419" y="1831830"/>
              <a:ext cx="949343" cy="2742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9" name="Round Same Side Corner Rectangle 318"/>
            <p:cNvSpPr/>
            <p:nvPr/>
          </p:nvSpPr>
          <p:spPr>
            <a:xfrm>
              <a:off x="6789951" y="3135605"/>
              <a:ext cx="1420727" cy="206251"/>
            </a:xfrm>
            <a:prstGeom prst="round2SameRect">
              <a:avLst/>
            </a:prstGeom>
            <a:solidFill>
              <a:srgbClr val="0033A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Projects</a:t>
              </a:r>
            </a:p>
          </p:txBody>
        </p:sp>
        <p:sp>
          <p:nvSpPr>
            <p:cNvPr id="320" name="Rounded Rectangle 319"/>
            <p:cNvSpPr/>
            <p:nvPr/>
          </p:nvSpPr>
          <p:spPr>
            <a:xfrm>
              <a:off x="6806888" y="3406473"/>
              <a:ext cx="1404366" cy="625734"/>
            </a:xfrm>
            <a:prstGeom prst="roundRect">
              <a:avLst/>
            </a:prstGeom>
            <a:solidFill>
              <a:srgbClr val="7BA0FF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128588" indent="-128588" defTabSz="685783">
                <a:buFont typeface="Arial" panose="020B0604020202020204" pitchFamily="34" charset="0"/>
                <a:buChar char="•"/>
                <a:defRPr/>
              </a:pPr>
              <a:r>
                <a:rPr lang="en-US" sz="825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Small Projects</a:t>
              </a:r>
            </a:p>
            <a:p>
              <a:pPr marL="128588" indent="-128588" defTabSz="685783">
                <a:buFont typeface="Arial" panose="020B0604020202020204" pitchFamily="34" charset="0"/>
                <a:buChar char="•"/>
                <a:defRPr/>
              </a:pPr>
              <a:r>
                <a:rPr lang="en-US" sz="825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SaaS Onboarding</a:t>
              </a:r>
            </a:p>
            <a:p>
              <a:pPr marL="128588" indent="-128588" defTabSz="685783">
                <a:buFont typeface="Arial" panose="020B0604020202020204" pitchFamily="34" charset="0"/>
                <a:buChar char="•"/>
                <a:defRPr/>
              </a:pPr>
              <a:r>
                <a:rPr lang="en-US" sz="825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Other Project related activities</a:t>
              </a:r>
            </a:p>
          </p:txBody>
        </p:sp>
        <p:sp>
          <p:nvSpPr>
            <p:cNvPr id="321" name="Rounded Rectangle 320"/>
            <p:cNvSpPr/>
            <p:nvPr/>
          </p:nvSpPr>
          <p:spPr>
            <a:xfrm>
              <a:off x="5312561" y="1343358"/>
              <a:ext cx="2898881" cy="857527"/>
            </a:xfrm>
            <a:prstGeom prst="roundRect">
              <a:avLst>
                <a:gd name="adj" fmla="val 0"/>
              </a:avLst>
            </a:prstGeom>
            <a:solidFill>
              <a:srgbClr val="0033B4">
                <a:lumMod val="20000"/>
                <a:lumOff val="80000"/>
              </a:srgbClr>
            </a:solidFill>
            <a:ln w="38100" cap="flat" cmpd="sng" algn="ctr">
              <a:solidFill>
                <a:srgbClr val="0436A1"/>
              </a:solidFill>
              <a:prstDash val="solid"/>
            </a:ln>
            <a:effectLst/>
          </p:spPr>
          <p:txBody>
            <a:bodyPr lIns="89148" tIns="44574" rIns="89148" bIns="44574" rtlCol="0" anchor="t"/>
            <a:lstStyle/>
            <a:p>
              <a:pPr marL="0" marR="0" lvl="0" indent="0" algn="ctr" defTabSz="7958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1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pic>
          <p:nvPicPr>
            <p:cNvPr id="322" name="Picture 22" descr="Image result for ansible logo"/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7846"/>
            <a:stretch/>
          </p:blipFill>
          <p:spPr bwMode="auto">
            <a:xfrm>
              <a:off x="4471081" y="1891945"/>
              <a:ext cx="257661" cy="2352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3" name="Picture 28" descr="Image result for sccm logo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3198" y="1596791"/>
              <a:ext cx="407811" cy="236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4" name="Picture 30" descr="Image result for jamf logo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0078" y="1569199"/>
              <a:ext cx="291707" cy="275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5" name="Picture 32" descr="Image result for intune logo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6722" y="1592166"/>
              <a:ext cx="625264" cy="2287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6" name="Picture 12" descr="Related image"/>
            <p:cNvPicPr>
              <a:picLocks noChangeAspect="1" noChangeArrowheads="1"/>
            </p:cNvPicPr>
            <p:nvPr/>
          </p:nvPicPr>
          <p:blipFill>
            <a:blip r:embed="rId1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0172" y="1888292"/>
              <a:ext cx="524633" cy="2901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7" name="Picture 6" descr="Image result for infoblox logo"/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0078" y="1894825"/>
              <a:ext cx="705320" cy="2708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8" name="TextBox 327"/>
            <p:cNvSpPr txBox="1"/>
            <p:nvPr/>
          </p:nvSpPr>
          <p:spPr>
            <a:xfrm>
              <a:off x="3258714" y="1371776"/>
              <a:ext cx="1851660" cy="11541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Owned by BHF &amp; Managed by Cognizant</a:t>
              </a:r>
            </a:p>
          </p:txBody>
        </p:sp>
        <p:cxnSp>
          <p:nvCxnSpPr>
            <p:cNvPr id="329" name="Straight Connector 328"/>
            <p:cNvCxnSpPr/>
            <p:nvPr/>
          </p:nvCxnSpPr>
          <p:spPr>
            <a:xfrm>
              <a:off x="3104935" y="1522982"/>
              <a:ext cx="2125980" cy="0"/>
            </a:xfrm>
            <a:prstGeom prst="line">
              <a:avLst/>
            </a:prstGeom>
            <a:noFill/>
            <a:ln w="28575" cap="flat" cmpd="sng" algn="ctr">
              <a:solidFill>
                <a:srgbClr val="00195A"/>
              </a:solidFill>
              <a:prstDash val="solid"/>
              <a:miter lim="800000"/>
            </a:ln>
            <a:effectLst/>
          </p:spPr>
        </p:cxnSp>
        <p:sp>
          <p:nvSpPr>
            <p:cNvPr id="330" name="TextBox 329"/>
            <p:cNvSpPr txBox="1"/>
            <p:nvPr/>
          </p:nvSpPr>
          <p:spPr>
            <a:xfrm>
              <a:off x="5968906" y="1371374"/>
              <a:ext cx="1508760" cy="11541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Owned &amp; Managed by Cognizant</a:t>
              </a:r>
            </a:p>
          </p:txBody>
        </p:sp>
        <p:cxnSp>
          <p:nvCxnSpPr>
            <p:cNvPr id="331" name="Straight Connector 330"/>
            <p:cNvCxnSpPr/>
            <p:nvPr/>
          </p:nvCxnSpPr>
          <p:spPr>
            <a:xfrm>
              <a:off x="5312561" y="1522580"/>
              <a:ext cx="2900934" cy="0"/>
            </a:xfrm>
            <a:prstGeom prst="line">
              <a:avLst/>
            </a:prstGeom>
            <a:noFill/>
            <a:ln w="28575" cap="flat" cmpd="sng" algn="ctr">
              <a:solidFill>
                <a:srgbClr val="00195A"/>
              </a:solidFill>
              <a:prstDash val="solid"/>
              <a:miter lim="800000"/>
            </a:ln>
            <a:effectLst/>
          </p:spPr>
        </p:cxnSp>
        <p:grpSp>
          <p:nvGrpSpPr>
            <p:cNvPr id="332" name="Group 331"/>
            <p:cNvGrpSpPr/>
            <p:nvPr/>
          </p:nvGrpSpPr>
          <p:grpSpPr>
            <a:xfrm>
              <a:off x="5290609" y="1606050"/>
              <a:ext cx="2865356" cy="632364"/>
              <a:chOff x="7093333" y="2128430"/>
              <a:chExt cx="3820475" cy="843152"/>
            </a:xfrm>
          </p:grpSpPr>
          <p:pic>
            <p:nvPicPr>
              <p:cNvPr id="333" name="Picture 8" descr="Image result for solarwinds logo"/>
              <p:cNvPicPr>
                <a:picLocks noChangeAspect="1" noChangeArrowheads="1"/>
              </p:cNvPicPr>
              <p:nvPr/>
            </p:nvPicPr>
            <p:blipFill rotWithShape="1"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5658" b="34857"/>
              <a:stretch/>
            </p:blipFill>
            <p:spPr bwMode="auto">
              <a:xfrm>
                <a:off x="7171711" y="2128430"/>
                <a:ext cx="985216" cy="2623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34" name="TextBox 333"/>
              <p:cNvSpPr txBox="1"/>
              <p:nvPr/>
            </p:nvSpPr>
            <p:spPr>
              <a:xfrm>
                <a:off x="7093333" y="2340641"/>
                <a:ext cx="1429693" cy="63094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defTabSz="685800">
                  <a:defRPr/>
                </a:pPr>
                <a:r>
                  <a:rPr lang="en-US" sz="825" b="1" dirty="0">
                    <a:solidFill>
                      <a:prstClr val="black"/>
                    </a:solidFill>
                    <a:latin typeface="Calibri" panose="020F0502020204030204"/>
                  </a:rPr>
                  <a:t>AWS </a:t>
                </a:r>
                <a:r>
                  <a:rPr lang="en-US" sz="825" b="1" dirty="0" err="1">
                    <a:solidFill>
                      <a:prstClr val="black"/>
                    </a:solidFill>
                    <a:latin typeface="Calibri" panose="020F0502020204030204"/>
                  </a:rPr>
                  <a:t>Cloudwatch</a:t>
                </a:r>
                <a:endParaRPr lang="en-US" sz="825" b="1" dirty="0">
                  <a:solidFill>
                    <a:prstClr val="black"/>
                  </a:solidFill>
                  <a:latin typeface="Calibri" panose="020F0502020204030204"/>
                </a:endParaRPr>
              </a:p>
              <a:p>
                <a:pPr defTabSz="685800">
                  <a:defRPr/>
                </a:pPr>
                <a:r>
                  <a:rPr lang="en-US" sz="825" b="1" dirty="0">
                    <a:solidFill>
                      <a:prstClr val="black"/>
                    </a:solidFill>
                    <a:latin typeface="Calibri" panose="020F0502020204030204"/>
                  </a:rPr>
                  <a:t>Azure Cost Manager</a:t>
                </a:r>
              </a:p>
              <a:p>
                <a:pPr defTabSz="685800">
                  <a:defRPr/>
                </a:pPr>
                <a:r>
                  <a:rPr lang="en-US" sz="825" b="1" dirty="0">
                    <a:solidFill>
                      <a:prstClr val="black"/>
                    </a:solidFill>
                    <a:latin typeface="Calibri" panose="020F0502020204030204"/>
                  </a:rPr>
                  <a:t>Azure Monitor</a:t>
                </a:r>
              </a:p>
            </p:txBody>
          </p:sp>
          <p:pic>
            <p:nvPicPr>
              <p:cNvPr id="335" name="Picture 334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04441" y="2493862"/>
                <a:ext cx="760566" cy="400227"/>
              </a:xfrm>
              <a:prstGeom prst="rect">
                <a:avLst/>
              </a:prstGeom>
            </p:spPr>
          </p:pic>
          <p:pic>
            <p:nvPicPr>
              <p:cNvPr id="336" name="Picture 2" descr="Image result for zscalar secure internet aCCESS logo"/>
              <p:cNvPicPr>
                <a:picLocks noChangeAspect="1" noChangeArrowheads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61628" y="2488032"/>
                <a:ext cx="1031781" cy="3610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7" name="Picture 4" descr="Image result for qualys logo"/>
              <p:cNvPicPr>
                <a:picLocks noChangeAspect="1" noChangeArrowheads="1"/>
              </p:cNvPicPr>
              <p:nvPr/>
            </p:nvPicPr>
            <p:blipFill rotWithShape="1"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079600" y="2128430"/>
                <a:ext cx="834208" cy="2873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8" name="Picture 6" descr="Image result for cyberark logo"/>
              <p:cNvPicPr>
                <a:picLocks noChangeAspect="1" noChangeArrowheads="1"/>
              </p:cNvPicPr>
              <p:nvPr/>
            </p:nvPicPr>
            <p:blipFill rotWithShape="1"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380149" y="2470515"/>
                <a:ext cx="533659" cy="3588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0" name="Picture 8" descr="Image result for systrack logo"/>
              <p:cNvPicPr>
                <a:picLocks noChangeAspect="1" noChangeArrowheads="1"/>
              </p:cNvPicPr>
              <p:nvPr/>
            </p:nvPicPr>
            <p:blipFill rotWithShape="1"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822243" y="2142934"/>
                <a:ext cx="1122484" cy="2645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1" name="Picture 2" descr="Image result for dell cloud snapshot manager"/>
              <p:cNvPicPr>
                <a:picLocks noChangeAspect="1" noChangeArrowheads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91339" y="2128430"/>
                <a:ext cx="312612" cy="3126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42" name="TextBox 341"/>
            <p:cNvSpPr txBox="1"/>
            <p:nvPr/>
          </p:nvSpPr>
          <p:spPr>
            <a:xfrm>
              <a:off x="921833" y="1371776"/>
              <a:ext cx="2125980" cy="11541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Owned / Managed by BHF &amp; 3</a:t>
              </a:r>
              <a:r>
                <a:rPr kumimoji="0" lang="en-US" sz="750" b="1" i="0" u="none" strike="noStrike" kern="0" cap="none" spc="0" normalizeH="0" baseline="3000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rd</a:t>
              </a:r>
              <a:r>
                <a:rPr kumimoji="0" lang="en-US" sz="7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party vendors</a:t>
              </a:r>
            </a:p>
          </p:txBody>
        </p:sp>
        <p:cxnSp>
          <p:nvCxnSpPr>
            <p:cNvPr id="343" name="Straight Connector 342"/>
            <p:cNvCxnSpPr/>
            <p:nvPr/>
          </p:nvCxnSpPr>
          <p:spPr>
            <a:xfrm>
              <a:off x="901259" y="1522982"/>
              <a:ext cx="2125980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pic>
          <p:nvPicPr>
            <p:cNvPr id="344" name="Picture 2" descr="Image result for ms teams logo"/>
            <p:cNvPicPr>
              <a:picLocks noChangeAspect="1"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6239" y="1913366"/>
              <a:ext cx="243764" cy="226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5" name="Picture 4" descr="Image result for servicenow logo"/>
            <p:cNvPicPr>
              <a:picLocks noChangeAspect="1" noChangeArrowheads="1"/>
            </p:cNvPicPr>
            <p:nvPr/>
          </p:nvPicPr>
          <p:blipFill rotWithShape="1"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85300" y="1598740"/>
              <a:ext cx="650828" cy="102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6" name="TextBox 345"/>
            <p:cNvSpPr txBox="1"/>
            <p:nvPr/>
          </p:nvSpPr>
          <p:spPr>
            <a:xfrm>
              <a:off x="4697739" y="1673349"/>
              <a:ext cx="450279" cy="21929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685800">
                <a:defRPr/>
              </a:pPr>
              <a:r>
                <a:rPr lang="en-US" sz="825" b="1" dirty="0">
                  <a:solidFill>
                    <a:prstClr val="black"/>
                  </a:solidFill>
                  <a:latin typeface="Calibri" panose="020F0502020204030204"/>
                </a:rPr>
                <a:t>CMP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048429" y="6330421"/>
            <a:ext cx="2929937" cy="334835"/>
            <a:chOff x="4048429" y="6330421"/>
            <a:chExt cx="2929937" cy="334835"/>
          </a:xfrm>
        </p:grpSpPr>
        <p:sp>
          <p:nvSpPr>
            <p:cNvPr id="347" name="Rectangle 346"/>
            <p:cNvSpPr/>
            <p:nvPr/>
          </p:nvSpPr>
          <p:spPr>
            <a:xfrm flipH="1">
              <a:off x="6361146" y="6381211"/>
              <a:ext cx="617220" cy="261387"/>
            </a:xfrm>
            <a:prstGeom prst="rect">
              <a:avLst/>
            </a:prstGeom>
            <a:solidFill>
              <a:srgbClr val="0033A0"/>
            </a:solidFill>
            <a:ln w="25400" cap="flat" cmpd="sng" algn="ctr">
              <a:noFill/>
              <a:prstDash val="solid"/>
            </a:ln>
            <a:effectLst/>
          </p:spPr>
          <p:txBody>
            <a:bodyPr lIns="83661" tIns="0" rIns="0" bIns="0" rtlCol="0" anchor="ctr"/>
            <a:lstStyle/>
            <a:p>
              <a:pPr algn="ctr" defTabSz="836490">
                <a:defRPr/>
              </a:pPr>
              <a:r>
                <a:rPr lang="en-US" sz="750" b="1" kern="0" dirty="0">
                  <a:solidFill>
                    <a:sysClr val="window" lastClr="FFFFFF"/>
                  </a:solidFill>
                  <a:cs typeface="Arial" panose="020B0604020202020204" pitchFamily="34" charset="0"/>
                </a:rPr>
                <a:t>Cognizant</a:t>
              </a:r>
            </a:p>
          </p:txBody>
        </p:sp>
        <p:sp>
          <p:nvSpPr>
            <p:cNvPr id="348" name="Rectangle 347"/>
            <p:cNvSpPr/>
            <p:nvPr/>
          </p:nvSpPr>
          <p:spPr>
            <a:xfrm flipH="1">
              <a:off x="5678669" y="6381211"/>
              <a:ext cx="617220" cy="261387"/>
            </a:xfrm>
            <a:prstGeom prst="rect">
              <a:avLst/>
            </a:prstGeom>
            <a:solidFill>
              <a:srgbClr val="00B140"/>
            </a:solidFill>
            <a:ln w="25400" cap="flat" cmpd="sng" algn="ctr">
              <a:noFill/>
              <a:prstDash val="solid"/>
            </a:ln>
            <a:effectLst/>
          </p:spPr>
          <p:txBody>
            <a:bodyPr lIns="83661" tIns="0" rIns="0" bIns="0" rtlCol="0" anchor="ctr"/>
            <a:lstStyle/>
            <a:p>
              <a:pPr algn="ctr" defTabSz="836490"/>
              <a:r>
                <a:rPr lang="en-US" sz="750" b="1" kern="0" dirty="0">
                  <a:solidFill>
                    <a:sysClr val="window" lastClr="FFFFFF"/>
                  </a:solidFill>
                  <a:cs typeface="Arial" panose="020B0604020202020204" pitchFamily="34" charset="0"/>
                </a:rPr>
                <a:t>BHF</a:t>
              </a:r>
            </a:p>
          </p:txBody>
        </p:sp>
        <p:sp>
          <p:nvSpPr>
            <p:cNvPr id="349" name="Rectangle 348"/>
            <p:cNvSpPr/>
            <p:nvPr/>
          </p:nvSpPr>
          <p:spPr>
            <a:xfrm flipH="1">
              <a:off x="4996192" y="6377599"/>
              <a:ext cx="617220" cy="261387"/>
            </a:xfrm>
            <a:prstGeom prst="rect">
              <a:avLst/>
            </a:prstGeom>
            <a:solidFill>
              <a:srgbClr val="BFBFBF"/>
            </a:solidFill>
            <a:ln w="25400" cap="flat" cmpd="sng" algn="ctr">
              <a:noFill/>
              <a:prstDash val="solid"/>
            </a:ln>
            <a:effectLst/>
          </p:spPr>
          <p:txBody>
            <a:bodyPr lIns="83661" tIns="0" rIns="0" bIns="0" rtlCol="0" anchor="ctr"/>
            <a:lstStyle/>
            <a:p>
              <a:pPr algn="ctr" defTabSz="836490"/>
              <a:r>
                <a:rPr lang="en-US" sz="75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BHF </a:t>
              </a:r>
            </a:p>
            <a:p>
              <a:pPr algn="ctr" defTabSz="836490"/>
              <a:r>
                <a:rPr lang="en-US" sz="75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Vendor</a:t>
              </a:r>
            </a:p>
          </p:txBody>
        </p:sp>
        <p:sp>
          <p:nvSpPr>
            <p:cNvPr id="350" name="Rectangle 349"/>
            <p:cNvSpPr/>
            <p:nvPr/>
          </p:nvSpPr>
          <p:spPr>
            <a:xfrm>
              <a:off x="4048429" y="6330421"/>
              <a:ext cx="956859" cy="3348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36490"/>
              <a:r>
                <a:rPr lang="en-US" sz="788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Support </a:t>
              </a:r>
            </a:p>
            <a:p>
              <a:pPr algn="ctr" defTabSz="836490"/>
              <a:r>
                <a:rPr lang="en-US" sz="788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Responsi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5736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819" y="183256"/>
            <a:ext cx="11180064" cy="1060704"/>
          </a:xfrm>
        </p:spPr>
        <p:txBody>
          <a:bodyPr>
            <a:normAutofit/>
          </a:bodyPr>
          <a:lstStyle/>
          <a:p>
            <a:r>
              <a:rPr lang="en-US" kern="0" dirty="0">
                <a:solidFill>
                  <a:srgbClr val="0033A0"/>
                </a:solidFill>
              </a:rPr>
              <a:t>Delivery Location &amp; Roles</a:t>
            </a:r>
          </a:p>
        </p:txBody>
      </p:sp>
      <p:sp>
        <p:nvSpPr>
          <p:cNvPr id="554" name="Slide Number Placeholder 55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F22CA-A36B-4105-B3F0-7964EB763159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B14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B1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22753" y="737729"/>
            <a:ext cx="10942759" cy="4757396"/>
            <a:chOff x="367648" y="1236907"/>
            <a:chExt cx="11055108" cy="4401893"/>
          </a:xfrm>
          <a:solidFill>
            <a:schemeClr val="bg1">
              <a:lumMod val="75000"/>
            </a:schemeClr>
          </a:solidFill>
        </p:grpSpPr>
        <p:sp>
          <p:nvSpPr>
            <p:cNvPr id="6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081667" y="4936700"/>
              <a:ext cx="49132" cy="59463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367648" y="1547428"/>
              <a:ext cx="1155799" cy="464141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046150" y="2188301"/>
              <a:ext cx="2035516" cy="801096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274480" y="3802063"/>
              <a:ext cx="500689" cy="614449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716681" y="4388428"/>
              <a:ext cx="386044" cy="1176042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576297" y="3641841"/>
              <a:ext cx="1424861" cy="1252022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690402" y="2545080"/>
              <a:ext cx="102945" cy="51205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951065" y="2414597"/>
              <a:ext cx="121663" cy="166825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070392" y="1879430"/>
              <a:ext cx="252684" cy="280797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599159" y="2194910"/>
              <a:ext cx="250345" cy="79284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798449" y="2037996"/>
              <a:ext cx="1888115" cy="1080241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870558" y="1560638"/>
              <a:ext cx="325214" cy="284102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482177" y="1995051"/>
              <a:ext cx="269062" cy="247761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519611" y="2262637"/>
              <a:ext cx="369668" cy="285752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545343" y="2437718"/>
              <a:ext cx="49134" cy="85893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1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963608" y="3541085"/>
              <a:ext cx="697223" cy="221335"/>
              <a:chOff x="4488" y="2394"/>
              <a:chExt cx="358" cy="124"/>
            </a:xfrm>
            <a:grpFill/>
          </p:grpSpPr>
          <p:sp>
            <p:nvSpPr>
              <p:cNvPr id="550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1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48372" y="1331048"/>
              <a:ext cx="4517908" cy="1118233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23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962766" y="2358431"/>
              <a:ext cx="414122" cy="257673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8841944" y="3126495"/>
              <a:ext cx="306496" cy="474052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107404" y="4943306"/>
              <a:ext cx="35095" cy="59463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840261" y="2407985"/>
              <a:ext cx="4679" cy="991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44942" y="2404683"/>
              <a:ext cx="4679" cy="57811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09847" y="2460847"/>
              <a:ext cx="35095" cy="59463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763469" y="2455891"/>
              <a:ext cx="72529" cy="59463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799406" y="1995053"/>
              <a:ext cx="1289160" cy="470745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7138661" y="2310532"/>
              <a:ext cx="603635" cy="259325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381570" y="3354438"/>
              <a:ext cx="437520" cy="300617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623936" y="3214036"/>
              <a:ext cx="224608" cy="176737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830782" y="2178397"/>
              <a:ext cx="184836" cy="59463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103565" y="2928290"/>
              <a:ext cx="28075" cy="59463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7279041" y="2933245"/>
              <a:ext cx="21057" cy="59463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9471315" y="3620369"/>
              <a:ext cx="65510" cy="59463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8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3357745" y="5501702"/>
              <a:ext cx="95926" cy="57811"/>
              <a:chOff x="1654" y="3671"/>
              <a:chExt cx="49" cy="17"/>
            </a:xfrm>
            <a:grpFill/>
          </p:grpSpPr>
          <p:sp>
            <p:nvSpPr>
              <p:cNvPr id="548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9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838340" y="3207430"/>
              <a:ext cx="46793" cy="61113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920227" y="3214038"/>
              <a:ext cx="2341" cy="61113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938950" y="3215687"/>
              <a:ext cx="9357" cy="61116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960002" y="3205783"/>
              <a:ext cx="11697" cy="59463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929587" y="3197519"/>
              <a:ext cx="16378" cy="61113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4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002120" y="3227251"/>
              <a:ext cx="21057" cy="62766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013820" y="3223947"/>
              <a:ext cx="9357" cy="991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6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013820" y="3250378"/>
              <a:ext cx="9357" cy="1156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013813" y="3245419"/>
              <a:ext cx="16378" cy="61116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023175" y="3275153"/>
              <a:ext cx="25738" cy="57811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9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032530" y="3324709"/>
              <a:ext cx="23397" cy="59463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0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046574" y="3351136"/>
              <a:ext cx="4679" cy="59463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1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079325" y="3382515"/>
              <a:ext cx="2341" cy="57811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023174" y="3395729"/>
              <a:ext cx="23397" cy="61113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002120" y="3463453"/>
              <a:ext cx="35094" cy="59463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3030194" y="3438679"/>
              <a:ext cx="18718" cy="59463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267459" y="3096768"/>
              <a:ext cx="23397" cy="59463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56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452277" y="2923348"/>
              <a:ext cx="194192" cy="203166"/>
              <a:chOff x="1199" y="2121"/>
              <a:chExt cx="97" cy="123"/>
            </a:xfrm>
            <a:grpFill/>
          </p:grpSpPr>
          <p:sp>
            <p:nvSpPr>
              <p:cNvPr id="538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9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0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1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2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3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4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5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6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7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7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1020176" y="4408253"/>
              <a:ext cx="18718" cy="59463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8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11034214" y="4502397"/>
              <a:ext cx="14038" cy="61113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9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11202670" y="4408247"/>
              <a:ext cx="114645" cy="135444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0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11202671" y="4380175"/>
              <a:ext cx="21059" cy="59463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61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10746581" y="4922090"/>
              <a:ext cx="676175" cy="421205"/>
              <a:chOff x="5372" y="3323"/>
              <a:chExt cx="341" cy="253"/>
            </a:xfrm>
            <a:grpFill/>
          </p:grpSpPr>
          <p:sp>
            <p:nvSpPr>
              <p:cNvPr id="535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6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7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2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10220008" y="3524571"/>
              <a:ext cx="14038" cy="59463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11291580" y="4462762"/>
              <a:ext cx="21059" cy="59463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11324333" y="4472665"/>
              <a:ext cx="25738" cy="61113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10313594" y="3513004"/>
              <a:ext cx="2341" cy="57811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10400168" y="3455196"/>
              <a:ext cx="9357" cy="59463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10566279" y="3339575"/>
              <a:ext cx="7020" cy="59463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10790890" y="4066338"/>
              <a:ext cx="39775" cy="61113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10884474" y="4081208"/>
              <a:ext cx="18718" cy="59463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10673902" y="3848305"/>
              <a:ext cx="37435" cy="57811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10589676" y="3821884"/>
              <a:ext cx="16378" cy="59463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10884475" y="4167098"/>
              <a:ext cx="46793" cy="59463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10818963" y="4155537"/>
              <a:ext cx="32756" cy="59463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10868099" y="4140665"/>
              <a:ext cx="30415" cy="660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10898513" y="4147276"/>
              <a:ext cx="2341" cy="59463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10830665" y="4140665"/>
              <a:ext cx="21057" cy="61116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10821310" y="4120845"/>
              <a:ext cx="9357" cy="62766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10940626" y="3836748"/>
              <a:ext cx="2341" cy="59463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79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10756314" y="3494909"/>
              <a:ext cx="240997" cy="118929"/>
              <a:chOff x="5379" y="2466"/>
              <a:chExt cx="122" cy="71"/>
            </a:xfrm>
            <a:grpFill/>
          </p:grpSpPr>
          <p:sp>
            <p:nvSpPr>
              <p:cNvPr id="526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7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8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9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0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1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2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3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4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0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8668808" y="3351136"/>
              <a:ext cx="9357" cy="59463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099424" y="5577684"/>
              <a:ext cx="79550" cy="61116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10666885" y="2049560"/>
              <a:ext cx="30415" cy="59463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10926587" y="2084248"/>
              <a:ext cx="23397" cy="59463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10114727" y="2323745"/>
              <a:ext cx="7019" cy="61116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9840985" y="2908463"/>
              <a:ext cx="21059" cy="61116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9866716" y="2840747"/>
              <a:ext cx="23397" cy="59463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9702942" y="2683826"/>
              <a:ext cx="2340" cy="62766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5063366" y="1775372"/>
              <a:ext cx="14038" cy="59463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042315" y="1534217"/>
              <a:ext cx="4679" cy="59463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7225227" y="3384169"/>
              <a:ext cx="37435" cy="57811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787708" y="3240465"/>
              <a:ext cx="28075" cy="61113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7"/>
              </p:custDataLst>
            </p:nvPr>
          </p:nvGrpSpPr>
          <p:grpSpPr bwMode="auto">
            <a:xfrm>
              <a:off x="7925927" y="3435198"/>
              <a:ext cx="67860" cy="389795"/>
              <a:chOff x="3950" y="2430"/>
              <a:chExt cx="36" cy="234"/>
            </a:xfrm>
            <a:grpFill/>
          </p:grpSpPr>
          <p:sp>
            <p:nvSpPr>
              <p:cNvPr id="495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6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7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8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9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0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1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2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3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4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5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6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7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8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9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0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1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2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3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4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5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6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7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8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9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0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1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2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3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4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5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10968939" y="3955627"/>
              <a:ext cx="273748" cy="222983"/>
              <a:chOff x="5486" y="2743"/>
              <a:chExt cx="137" cy="132"/>
            </a:xfrm>
            <a:grpFill/>
          </p:grpSpPr>
          <p:sp>
            <p:nvSpPr>
              <p:cNvPr id="486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7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8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9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0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1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2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3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4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582779" y="3683131"/>
              <a:ext cx="16378" cy="57811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470471" y="3828491"/>
              <a:ext cx="21059" cy="59463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8121328" y="2087547"/>
              <a:ext cx="1073909" cy="345214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707325" y="4134058"/>
              <a:ext cx="484312" cy="432757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023177" y="3541083"/>
              <a:ext cx="175476" cy="224637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4"/>
              </p:custDataLst>
            </p:nvPr>
          </p:nvGrpSpPr>
          <p:grpSpPr bwMode="auto">
            <a:xfrm>
              <a:off x="2602083" y="3369229"/>
              <a:ext cx="477301" cy="417884"/>
              <a:chOff x="1486" y="2412"/>
              <a:chExt cx="244" cy="256"/>
            </a:xfrm>
            <a:grpFill/>
          </p:grpSpPr>
          <p:sp>
            <p:nvSpPr>
              <p:cNvPr id="482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3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4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5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10002420" y="4971492"/>
              <a:ext cx="46793" cy="1156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10173214" y="5110245"/>
              <a:ext cx="2341" cy="4955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7"/>
              </p:custDataLst>
            </p:nvPr>
          </p:nvSpPr>
          <p:spPr bwMode="auto">
            <a:xfrm flipV="1">
              <a:off x="10306577" y="5108587"/>
              <a:ext cx="2340" cy="1321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10306576" y="5108585"/>
              <a:ext cx="4679" cy="16518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10746435" y="4556907"/>
              <a:ext cx="32756" cy="29731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10755794" y="4480923"/>
              <a:ext cx="39773" cy="41295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10720700" y="4456149"/>
              <a:ext cx="25738" cy="31383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10601380" y="4328966"/>
              <a:ext cx="100604" cy="143701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3"/>
              </p:custDataLst>
            </p:nvPr>
          </p:nvSpPr>
          <p:spPr bwMode="auto">
            <a:xfrm flipH="1" flipV="1">
              <a:off x="10592020" y="4294282"/>
              <a:ext cx="9357" cy="3468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10592020" y="4277757"/>
              <a:ext cx="9357" cy="16518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5"/>
              </p:custDataLst>
            </p:nvPr>
          </p:nvSpPr>
          <p:spPr bwMode="auto">
            <a:xfrm flipV="1">
              <a:off x="10601374" y="4264547"/>
              <a:ext cx="0" cy="1321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10533523" y="4195174"/>
              <a:ext cx="67851" cy="693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10554584" y="4135711"/>
              <a:ext cx="2340" cy="52857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10563939" y="4129104"/>
              <a:ext cx="11697" cy="37988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10587340" y="4109283"/>
              <a:ext cx="2340" cy="231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0"/>
              </p:custDataLst>
            </p:nvPr>
          </p:nvSpPr>
          <p:spPr bwMode="auto">
            <a:xfrm flipV="1">
              <a:off x="10587340" y="4129107"/>
              <a:ext cx="2340" cy="330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10563939" y="4112584"/>
              <a:ext cx="2340" cy="16518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10152164" y="5141624"/>
              <a:ext cx="142719" cy="90847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10355713" y="4328963"/>
              <a:ext cx="4679" cy="18170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10257443" y="4248027"/>
              <a:ext cx="23397" cy="16518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10280840" y="4157182"/>
              <a:ext cx="4679" cy="9911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10044533" y="4160489"/>
              <a:ext cx="53812" cy="231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10404844" y="4642801"/>
              <a:ext cx="2340" cy="14867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279461" y="4129103"/>
              <a:ext cx="1502070" cy="944797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1153781" y="2741636"/>
              <a:ext cx="985001" cy="604540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3032536" y="4447889"/>
              <a:ext cx="311178" cy="27584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282878" y="3620365"/>
              <a:ext cx="107625" cy="113970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566941" y="3161181"/>
              <a:ext cx="102945" cy="61113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107404" y="4943306"/>
              <a:ext cx="35095" cy="59463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3055930" y="4921830"/>
              <a:ext cx="51472" cy="61113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3055930" y="5567772"/>
              <a:ext cx="32756" cy="62766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3011476" y="5561170"/>
              <a:ext cx="37435" cy="62766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974044" y="5551254"/>
              <a:ext cx="42115" cy="61116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938945" y="5538046"/>
              <a:ext cx="49134" cy="59463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929587" y="5518223"/>
              <a:ext cx="44456" cy="59463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782187" y="5196132"/>
              <a:ext cx="37435" cy="62766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826641" y="5295234"/>
              <a:ext cx="25738" cy="56161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833659" y="5318359"/>
              <a:ext cx="11697" cy="61113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854716" y="5382776"/>
              <a:ext cx="25738" cy="62766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836002" y="5395991"/>
              <a:ext cx="39775" cy="61116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880454" y="5430680"/>
              <a:ext cx="16377" cy="61113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875774" y="5465367"/>
              <a:ext cx="30415" cy="57811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910869" y="5480234"/>
              <a:ext cx="25738" cy="59463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913213" y="5509966"/>
              <a:ext cx="9357" cy="59463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023175" y="4915227"/>
              <a:ext cx="51472" cy="59463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3079329" y="5521525"/>
              <a:ext cx="182495" cy="104061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419537" y="3197519"/>
              <a:ext cx="77210" cy="61113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208973" y="3053818"/>
              <a:ext cx="369668" cy="113970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658183" y="3161184"/>
              <a:ext cx="131022" cy="72677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021796" y="3223946"/>
              <a:ext cx="49134" cy="87543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904810" y="3223950"/>
              <a:ext cx="138041" cy="15196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975002" y="3339575"/>
              <a:ext cx="105286" cy="59463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2021795" y="3299927"/>
              <a:ext cx="210570" cy="90847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2047535" y="3331315"/>
              <a:ext cx="184833" cy="127187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122399" y="3448586"/>
              <a:ext cx="124003" cy="104060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2241726" y="3504745"/>
              <a:ext cx="210570" cy="82588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245447" y="4809626"/>
              <a:ext cx="196533" cy="161871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5524283" y="1289756"/>
              <a:ext cx="348611" cy="95801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416660" y="1529256"/>
              <a:ext cx="662127" cy="376598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917348" y="2404682"/>
              <a:ext cx="72529" cy="94149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486850" y="2237854"/>
              <a:ext cx="124003" cy="61116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395603" y="2049560"/>
              <a:ext cx="124004" cy="75981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367527" y="2115632"/>
              <a:ext cx="124004" cy="59463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6488230" y="2692091"/>
              <a:ext cx="49132" cy="137093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413364" y="2746591"/>
              <a:ext cx="102945" cy="135444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941707" y="1970277"/>
              <a:ext cx="142720" cy="150310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665626" y="2918375"/>
              <a:ext cx="451557" cy="406331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4836422" y="2981144"/>
              <a:ext cx="610654" cy="487266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4981484" y="2571508"/>
              <a:ext cx="727637" cy="602887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624891" y="2711905"/>
              <a:ext cx="566201" cy="454229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554699" y="2571506"/>
              <a:ext cx="138041" cy="246112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644571" y="2895248"/>
              <a:ext cx="341593" cy="224637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4597773" y="1654793"/>
              <a:ext cx="280761" cy="97453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765274" y="1928985"/>
              <a:ext cx="21059" cy="59463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599159" y="1578813"/>
              <a:ext cx="346272" cy="411285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802706" y="1905859"/>
              <a:ext cx="39775" cy="59463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983821" y="2074340"/>
              <a:ext cx="42115" cy="59463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6387623" y="2624365"/>
              <a:ext cx="74870" cy="59463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809725" y="3448586"/>
              <a:ext cx="479632" cy="254371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716139" y="3623670"/>
              <a:ext cx="736996" cy="574806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622557" y="3727731"/>
              <a:ext cx="81887" cy="57811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596816" y="3727734"/>
              <a:ext cx="224608" cy="209771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6382950" y="4148927"/>
              <a:ext cx="383707" cy="541773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5992226" y="4398341"/>
              <a:ext cx="350950" cy="298966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836844" y="4191873"/>
              <a:ext cx="290120" cy="452580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359547" y="3878039"/>
              <a:ext cx="53813" cy="693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343174" y="3836745"/>
              <a:ext cx="81887" cy="62766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799412" y="2483973"/>
              <a:ext cx="741678" cy="492220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834504" y="3167791"/>
              <a:ext cx="364990" cy="237853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7122285" y="2933241"/>
              <a:ext cx="177816" cy="125532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661365" y="2571511"/>
              <a:ext cx="327555" cy="274190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7398366" y="2530217"/>
              <a:ext cx="488992" cy="302270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7445155" y="2581419"/>
              <a:ext cx="538125" cy="441016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8610319" y="2860563"/>
              <a:ext cx="325215" cy="609494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4665622" y="3390774"/>
              <a:ext cx="119323" cy="61116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4789626" y="3476663"/>
              <a:ext cx="109964" cy="104061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4852800" y="3529522"/>
              <a:ext cx="154417" cy="137095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168656" y="3445283"/>
              <a:ext cx="154417" cy="209771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4656266" y="3357739"/>
              <a:ext cx="128683" cy="61116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283297" y="3438674"/>
              <a:ext cx="63173" cy="161871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320736" y="3399032"/>
              <a:ext cx="112304" cy="196558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6394644" y="4652706"/>
              <a:ext cx="37435" cy="62766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40226" y="4753467"/>
              <a:ext cx="91247" cy="59463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9508750" y="2374956"/>
              <a:ext cx="177816" cy="178387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140042" y="2806055"/>
              <a:ext cx="304158" cy="12883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8458235" y="2863870"/>
              <a:ext cx="107625" cy="67722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8444197" y="2938195"/>
              <a:ext cx="196533" cy="173436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8912133" y="3058773"/>
              <a:ext cx="297137" cy="280797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9033796" y="3319750"/>
              <a:ext cx="196533" cy="135444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9625730" y="2525260"/>
              <a:ext cx="126342" cy="135444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10463336" y="3874737"/>
              <a:ext cx="341593" cy="264279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10746438" y="3858217"/>
              <a:ext cx="156757" cy="133791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8205550" y="3476666"/>
              <a:ext cx="93588" cy="12388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3" name="Freeform 283"/>
            <p:cNvSpPr>
              <a:spLocks/>
            </p:cNvSpPr>
            <p:nvPr/>
          </p:nvSpPr>
          <p:spPr bwMode="auto">
            <a:xfrm>
              <a:off x="9769403" y="3428592"/>
              <a:ext cx="36918" cy="6067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4" name="Freeform 284"/>
            <p:cNvSpPr>
              <a:spLocks/>
            </p:cNvSpPr>
            <p:nvPr/>
          </p:nvSpPr>
          <p:spPr bwMode="auto">
            <a:xfrm>
              <a:off x="9837414" y="3384318"/>
              <a:ext cx="46635" cy="40999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5" name="Freeform 285"/>
            <p:cNvSpPr>
              <a:spLocks/>
            </p:cNvSpPr>
            <p:nvPr/>
          </p:nvSpPr>
          <p:spPr bwMode="auto">
            <a:xfrm>
              <a:off x="9781068" y="3330197"/>
              <a:ext cx="9715" cy="26238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6" name="Freeform 286"/>
            <p:cNvSpPr>
              <a:spLocks/>
            </p:cNvSpPr>
            <p:nvPr/>
          </p:nvSpPr>
          <p:spPr bwMode="auto">
            <a:xfrm>
              <a:off x="9740260" y="3326918"/>
              <a:ext cx="29146" cy="21321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7" name="Freeform 287"/>
            <p:cNvSpPr>
              <a:spLocks/>
            </p:cNvSpPr>
            <p:nvPr/>
          </p:nvSpPr>
          <p:spPr bwMode="auto">
            <a:xfrm>
              <a:off x="9827701" y="3454831"/>
              <a:ext cx="25261" cy="16399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8" name="Freeform 288"/>
            <p:cNvSpPr>
              <a:spLocks/>
            </p:cNvSpPr>
            <p:nvPr/>
          </p:nvSpPr>
          <p:spPr bwMode="auto">
            <a:xfrm>
              <a:off x="9804381" y="3364634"/>
              <a:ext cx="19431" cy="9840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9" name="Freeform 289"/>
            <p:cNvSpPr>
              <a:spLocks/>
            </p:cNvSpPr>
            <p:nvPr/>
          </p:nvSpPr>
          <p:spPr bwMode="auto">
            <a:xfrm>
              <a:off x="9819923" y="3464669"/>
              <a:ext cx="11658" cy="6559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0" name="Freeform 290"/>
            <p:cNvSpPr>
              <a:spLocks/>
            </p:cNvSpPr>
            <p:nvPr/>
          </p:nvSpPr>
          <p:spPr bwMode="auto">
            <a:xfrm>
              <a:off x="9590636" y="3425313"/>
              <a:ext cx="81611" cy="9019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1" name="Freeform 291"/>
            <p:cNvSpPr>
              <a:spLocks/>
            </p:cNvSpPr>
            <p:nvPr/>
          </p:nvSpPr>
          <p:spPr bwMode="auto">
            <a:xfrm>
              <a:off x="9769402" y="3454835"/>
              <a:ext cx="165165" cy="141031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2" name="Freeform 292"/>
            <p:cNvSpPr>
              <a:spLocks/>
            </p:cNvSpPr>
            <p:nvPr/>
          </p:nvSpPr>
          <p:spPr bwMode="auto">
            <a:xfrm>
              <a:off x="9672253" y="3340035"/>
              <a:ext cx="44692" cy="50839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3" name="Freeform 293"/>
            <p:cNvSpPr>
              <a:spLocks/>
            </p:cNvSpPr>
            <p:nvPr/>
          </p:nvSpPr>
          <p:spPr bwMode="auto">
            <a:xfrm>
              <a:off x="9748032" y="3407273"/>
              <a:ext cx="31091" cy="34440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4" name="Freeform 294"/>
            <p:cNvSpPr>
              <a:spLocks/>
            </p:cNvSpPr>
            <p:nvPr/>
          </p:nvSpPr>
          <p:spPr bwMode="auto">
            <a:xfrm>
              <a:off x="9643102" y="3176048"/>
              <a:ext cx="97154" cy="160711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5" name="Freeform 295"/>
            <p:cNvSpPr>
              <a:spLocks/>
            </p:cNvSpPr>
            <p:nvPr/>
          </p:nvSpPr>
          <p:spPr bwMode="auto">
            <a:xfrm>
              <a:off x="9837413" y="3417112"/>
              <a:ext cx="15545" cy="21321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6" name="Freeform 296"/>
            <p:cNvSpPr>
              <a:spLocks/>
            </p:cNvSpPr>
            <p:nvPr/>
          </p:nvSpPr>
          <p:spPr bwMode="auto">
            <a:xfrm>
              <a:off x="9790777" y="3381032"/>
              <a:ext cx="19431" cy="16399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7" name="Freeform 297"/>
            <p:cNvSpPr>
              <a:spLocks/>
            </p:cNvSpPr>
            <p:nvPr/>
          </p:nvSpPr>
          <p:spPr bwMode="auto">
            <a:xfrm>
              <a:off x="9740258" y="3377758"/>
              <a:ext cx="11658" cy="19679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8" name="Line 298"/>
            <p:cNvSpPr>
              <a:spLocks noChangeShapeType="1"/>
            </p:cNvSpPr>
            <p:nvPr/>
          </p:nvSpPr>
          <p:spPr bwMode="auto">
            <a:xfrm>
              <a:off x="9819930" y="3428590"/>
              <a:ext cx="1942" cy="16399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9" name="Freeform 299"/>
            <p:cNvSpPr>
              <a:spLocks/>
            </p:cNvSpPr>
            <p:nvPr/>
          </p:nvSpPr>
          <p:spPr bwMode="auto">
            <a:xfrm>
              <a:off x="9819922" y="3435149"/>
              <a:ext cx="7772" cy="9840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0" name="Line 300"/>
            <p:cNvSpPr>
              <a:spLocks noChangeShapeType="1"/>
            </p:cNvSpPr>
            <p:nvPr/>
          </p:nvSpPr>
          <p:spPr bwMode="auto">
            <a:xfrm flipH="1" flipV="1">
              <a:off x="9816037" y="3425315"/>
              <a:ext cx="11658" cy="984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1" name="Freeform 301"/>
            <p:cNvSpPr>
              <a:spLocks/>
            </p:cNvSpPr>
            <p:nvPr/>
          </p:nvSpPr>
          <p:spPr bwMode="auto">
            <a:xfrm>
              <a:off x="9695567" y="3617180"/>
              <a:ext cx="17488" cy="16399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2" name="Freeform 302"/>
            <p:cNvSpPr>
              <a:spLocks/>
            </p:cNvSpPr>
            <p:nvPr/>
          </p:nvSpPr>
          <p:spPr bwMode="auto">
            <a:xfrm>
              <a:off x="9701392" y="3623739"/>
              <a:ext cx="11658" cy="1640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3" name="Freeform 303"/>
            <p:cNvSpPr>
              <a:spLocks/>
            </p:cNvSpPr>
            <p:nvPr/>
          </p:nvSpPr>
          <p:spPr bwMode="auto">
            <a:xfrm>
              <a:off x="9716941" y="3605701"/>
              <a:ext cx="23317" cy="8199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4" name="Freeform 304"/>
            <p:cNvSpPr>
              <a:spLocks/>
            </p:cNvSpPr>
            <p:nvPr/>
          </p:nvSpPr>
          <p:spPr bwMode="auto">
            <a:xfrm>
              <a:off x="9716941" y="3589302"/>
              <a:ext cx="23317" cy="9840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5" name="Freeform 305"/>
            <p:cNvSpPr>
              <a:spLocks/>
            </p:cNvSpPr>
            <p:nvPr/>
          </p:nvSpPr>
          <p:spPr bwMode="auto">
            <a:xfrm>
              <a:off x="9744142" y="3569625"/>
              <a:ext cx="38863" cy="13120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6" name="Line 306"/>
            <p:cNvSpPr>
              <a:spLocks noChangeShapeType="1"/>
            </p:cNvSpPr>
            <p:nvPr/>
          </p:nvSpPr>
          <p:spPr bwMode="auto">
            <a:xfrm flipV="1">
              <a:off x="9841298" y="3538466"/>
              <a:ext cx="11658" cy="328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7" name="Freeform 307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10098344" y="4028349"/>
              <a:ext cx="21059" cy="57811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8" name="Freeform 308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10210649" y="3965580"/>
              <a:ext cx="32756" cy="61116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9" name="Freeform 309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10280840" y="3840054"/>
              <a:ext cx="35095" cy="59463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0" name="Freeform 310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10257443" y="3808670"/>
              <a:ext cx="37435" cy="59463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1" name="Freeform 311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10000080" y="3701305"/>
              <a:ext cx="11698" cy="59463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2" name="Freeform 312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9892453" y="3841700"/>
              <a:ext cx="44456" cy="61113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3" name="Freeform 313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9904153" y="4034956"/>
              <a:ext cx="28075" cy="57811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4" name="Freeform 314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10070268" y="3846660"/>
              <a:ext cx="16378" cy="59463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5" name="Freeform 315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9864378" y="3841700"/>
              <a:ext cx="28075" cy="61113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6" name="Freeform 316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9929888" y="3891256"/>
              <a:ext cx="44456" cy="59463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7" name="Freeform 317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9637430" y="4102676"/>
              <a:ext cx="67850" cy="61113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8" name="Freeform 318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9782488" y="4142317"/>
              <a:ext cx="21057" cy="61113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9" name="Freeform 319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9536824" y="4071294"/>
              <a:ext cx="53813" cy="57811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0" name="Freeform 320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9602335" y="4056425"/>
              <a:ext cx="58492" cy="57811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1" name="Freeform 321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9679547" y="4066338"/>
              <a:ext cx="53812" cy="61113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2" name="Freeform 322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9756753" y="4071294"/>
              <a:ext cx="37435" cy="57811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3" name="Freeform 323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9864377" y="4063032"/>
              <a:ext cx="2341" cy="57811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4" name="Freeform 324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9237343" y="3869778"/>
              <a:ext cx="30416" cy="61116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5" name="Freeform 325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9157798" y="3841700"/>
              <a:ext cx="44456" cy="61113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6" name="Freeform 326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914472" y="3825188"/>
              <a:ext cx="11698" cy="59463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7" name="Line 327" descr="Horizontal dunkel"/>
            <p:cNvSpPr>
              <a:spLocks noChangeShapeType="1"/>
            </p:cNvSpPr>
            <p:nvPr>
              <p:custDataLst>
                <p:tags r:id="rId228"/>
              </p:custDataLst>
            </p:nvPr>
          </p:nvSpPr>
          <p:spPr bwMode="auto">
            <a:xfrm>
              <a:off x="8951905" y="3863175"/>
              <a:ext cx="7020" cy="660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8" name="Freeform 328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947227" y="3863176"/>
              <a:ext cx="11698" cy="59463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9" name="Freeform 329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8802165" y="3701305"/>
              <a:ext cx="32756" cy="59463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0" name="Freeform 330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9581277" y="4079555"/>
              <a:ext cx="16377" cy="59463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1" name="Freeform 331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10341671" y="4034956"/>
              <a:ext cx="42115" cy="57811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2" name="Freeform 332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776432" y="3600549"/>
              <a:ext cx="404762" cy="383205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3" name="Freeform 333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9279463" y="3651747"/>
              <a:ext cx="374347" cy="267584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4" name="Freeform 334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9803546" y="4074602"/>
              <a:ext cx="135701" cy="59463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5" name="Freeform 335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9974342" y="3727732"/>
              <a:ext cx="63170" cy="92497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6" name="Freeform 336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9993060" y="3878036"/>
              <a:ext cx="105285" cy="57811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7" name="Freeform 337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10105363" y="3798758"/>
              <a:ext cx="126342" cy="6607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8" name="Freeform 338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9646793" y="3734341"/>
              <a:ext cx="245664" cy="239503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9" name="Freeform 339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9153122" y="3985403"/>
              <a:ext cx="369668" cy="99106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0" name="Freeform 340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10156840" y="3836744"/>
              <a:ext cx="315855" cy="262630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1" name="Freeform 341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7992640" y="2621062"/>
              <a:ext cx="79550" cy="62766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2" name="Freeform 342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5718484" y="2001656"/>
              <a:ext cx="325215" cy="184996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3" name="Freeform 343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12066" y="2214734"/>
              <a:ext cx="215249" cy="74330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4" name="Freeform 344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959463" y="1856309"/>
              <a:ext cx="163777" cy="67722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5" name="Freeform 345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978184" y="2218037"/>
              <a:ext cx="264382" cy="148657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6" name="Freeform 346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3030197" y="3298277"/>
              <a:ext cx="21057" cy="57811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7" name="Freeform 347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132601" y="2209778"/>
              <a:ext cx="126342" cy="82588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8" name="Freeform 348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6010937" y="2087547"/>
              <a:ext cx="561522" cy="257673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9" name="Freeform 349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764311" y="2444324"/>
              <a:ext cx="70190" cy="6607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0" name="Freeform 350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7564484" y="2459193"/>
              <a:ext cx="306496" cy="127187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1" name="Freeform 351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7637012" y="2384865"/>
              <a:ext cx="332233" cy="130487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2" name="Freeform 352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56775" y="2401380"/>
              <a:ext cx="505370" cy="236200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3" name="Freeform 353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891616" y="2284104"/>
              <a:ext cx="159098" cy="155264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4" name="Freeform 354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961804" y="2396426"/>
              <a:ext cx="100606" cy="62766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5" name="Freeform 355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6085809" y="3045564"/>
              <a:ext cx="605974" cy="635921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6" name="Freeform 356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6799407" y="3399033"/>
              <a:ext cx="360310" cy="449275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7" name="Freeform 357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811105" y="3385817"/>
              <a:ext cx="56153" cy="61113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8" name="Freeform 358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13968" y="3293322"/>
              <a:ext cx="535786" cy="391464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9" name="Line 359"/>
            <p:cNvSpPr>
              <a:spLocks noChangeShapeType="1"/>
            </p:cNvSpPr>
            <p:nvPr>
              <p:custDataLst>
                <p:tags r:id="rId260"/>
              </p:custDataLst>
            </p:nvPr>
          </p:nvSpPr>
          <p:spPr bwMode="auto">
            <a:xfrm flipH="1">
              <a:off x="1886096" y="3833441"/>
              <a:ext cx="7020" cy="8259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0" name="Freeform 360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1886093" y="3841700"/>
              <a:ext cx="18718" cy="61113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1" name="Freeform 361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1897792" y="3828491"/>
              <a:ext cx="7019" cy="59463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92" name="Group 362"/>
            <p:cNvGrpSpPr>
              <a:grpSpLocks/>
            </p:cNvGrpSpPr>
            <p:nvPr>
              <p:custDataLst>
                <p:tags r:id="rId263"/>
              </p:custDataLst>
            </p:nvPr>
          </p:nvGrpSpPr>
          <p:grpSpPr bwMode="auto">
            <a:xfrm>
              <a:off x="1886096" y="3760767"/>
              <a:ext cx="615335" cy="209771"/>
              <a:chOff x="912" y="2626"/>
              <a:chExt cx="311" cy="127"/>
            </a:xfrm>
            <a:grpFill/>
          </p:grpSpPr>
          <p:sp>
            <p:nvSpPr>
              <p:cNvPr id="47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3" name="Freeform 366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7262660" y="4507354"/>
              <a:ext cx="28075" cy="61116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4" name="Freeform 367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7220548" y="4535437"/>
              <a:ext cx="35095" cy="59463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95" name="Group 368"/>
            <p:cNvGrpSpPr>
              <a:grpSpLocks/>
            </p:cNvGrpSpPr>
            <p:nvPr>
              <p:custDataLst>
                <p:tags r:id="rId266"/>
              </p:custDataLst>
            </p:nvPr>
          </p:nvGrpSpPr>
          <p:grpSpPr bwMode="auto">
            <a:xfrm>
              <a:off x="6986620" y="4006966"/>
              <a:ext cx="248006" cy="107365"/>
              <a:chOff x="3481" y="2773"/>
              <a:chExt cx="125" cy="65"/>
            </a:xfrm>
            <a:grpFill/>
          </p:grpSpPr>
          <p:sp>
            <p:nvSpPr>
              <p:cNvPr id="46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6" name="Freeform 380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702105" y="3998615"/>
              <a:ext cx="470273" cy="394767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7" name="Freeform 381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5718479" y="3970538"/>
              <a:ext cx="23397" cy="62766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8" name="Freeform 382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68215" y="4535433"/>
              <a:ext cx="584917" cy="414587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9" name="Freeform 383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6085809" y="3045564"/>
              <a:ext cx="605974" cy="635921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00" name="Group 384"/>
            <p:cNvGrpSpPr>
              <a:grpSpLocks/>
            </p:cNvGrpSpPr>
            <p:nvPr>
              <p:custDataLst>
                <p:tags r:id="rId271"/>
              </p:custDataLst>
            </p:nvPr>
          </p:nvGrpSpPr>
          <p:grpSpPr bwMode="auto">
            <a:xfrm>
              <a:off x="4293670" y="3255331"/>
              <a:ext cx="119323" cy="85893"/>
              <a:chOff x="2352" y="2343"/>
              <a:chExt cx="65" cy="53"/>
            </a:xfrm>
            <a:grpFill/>
          </p:grpSpPr>
          <p:sp>
            <p:nvSpPr>
              <p:cNvPr id="46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01" name="Group 391"/>
            <p:cNvGrpSpPr>
              <a:grpSpLocks/>
            </p:cNvGrpSpPr>
            <p:nvPr>
              <p:custDataLst>
                <p:tags r:id="rId272"/>
              </p:custDataLst>
            </p:nvPr>
          </p:nvGrpSpPr>
          <p:grpSpPr bwMode="auto">
            <a:xfrm>
              <a:off x="1118666" y="1236907"/>
              <a:ext cx="2795881" cy="1179352"/>
              <a:chOff x="527" y="1110"/>
              <a:chExt cx="1410" cy="709"/>
            </a:xfrm>
            <a:grpFill/>
          </p:grpSpPr>
          <p:sp>
            <p:nvSpPr>
              <p:cNvPr id="42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02" name="Freeform 434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6380606" y="3676527"/>
              <a:ext cx="187174" cy="165174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3" name="Freeform 435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6537368" y="3833447"/>
              <a:ext cx="9357" cy="59463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4" name="Freeform 436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5786328" y="3038951"/>
              <a:ext cx="367327" cy="520300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5" name="Freeform 437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5309036" y="2396428"/>
              <a:ext cx="23397" cy="59463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06" name="Group 438"/>
            <p:cNvGrpSpPr>
              <a:grpSpLocks/>
            </p:cNvGrpSpPr>
            <p:nvPr>
              <p:custDataLst>
                <p:tags r:id="rId277"/>
              </p:custDataLst>
            </p:nvPr>
          </p:nvGrpSpPr>
          <p:grpSpPr bwMode="auto">
            <a:xfrm>
              <a:off x="2803224" y="4540395"/>
              <a:ext cx="566196" cy="1073635"/>
              <a:chOff x="1589" y="3126"/>
              <a:chExt cx="290" cy="657"/>
            </a:xfrm>
            <a:grpFill/>
          </p:grpSpPr>
          <p:sp>
            <p:nvSpPr>
              <p:cNvPr id="41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07" name="Freeform 442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6797067" y="2409638"/>
              <a:ext cx="182495" cy="113970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8" name="Freeform 443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6010940" y="1965321"/>
              <a:ext cx="308837" cy="156916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9" name="Freeform 444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800368" y="2310534"/>
              <a:ext cx="121663" cy="90847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0" name="Freeform 445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3390504" y="3805365"/>
              <a:ext cx="121663" cy="59463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1" name="Freeform 446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6034333" y="2346873"/>
              <a:ext cx="196533" cy="10075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2" name="Freeform 447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5084430" y="3311494"/>
              <a:ext cx="262043" cy="171782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3" name="Freeform 448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596816" y="3382520"/>
              <a:ext cx="285440" cy="363383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4" name="Freeform 449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9209268" y="3131455"/>
              <a:ext cx="81888" cy="59463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5" name="Freeform 450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2363387" y="3405640"/>
              <a:ext cx="439857" cy="545076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6" name="Freeform 451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5683385" y="3684788"/>
              <a:ext cx="276081" cy="285753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7" name="Freeform 452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730177" y="2272540"/>
              <a:ext cx="187174" cy="118926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8" name="Freeform 453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657648" y="2125536"/>
              <a:ext cx="248005" cy="80936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9" name="Freeform 454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603833" y="1975229"/>
              <a:ext cx="44453" cy="62766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0" name="Freeform 455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561718" y="1980183"/>
              <a:ext cx="37435" cy="61116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1" name="Freeform 456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517267" y="1924023"/>
              <a:ext cx="77210" cy="80936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2" name="Freeform 457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6153657" y="2761458"/>
              <a:ext cx="402425" cy="320440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3" name="Freeform 458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557042" y="2381562"/>
              <a:ext cx="25737" cy="59463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4" name="Freeform 459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5025938" y="2122233"/>
              <a:ext cx="435179" cy="284102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5" name="Freeform 460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6619257" y="2366692"/>
              <a:ext cx="222268" cy="85893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6" name="Freeform 461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954789" y="2429463"/>
              <a:ext cx="217589" cy="180041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7" name="Freeform 462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078788" y="2629323"/>
              <a:ext cx="102945" cy="59463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8" name="Freeform 463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721780" y="3390777"/>
              <a:ext cx="276081" cy="165174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9" name="Freeform 464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7735278" y="2624364"/>
              <a:ext cx="1020098" cy="910112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0" name="Freeform 465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967447" y="3451886"/>
              <a:ext cx="233967" cy="214727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1" name="Freeform 466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6542047" y="3655056"/>
              <a:ext cx="283100" cy="282449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2" name="Freeform 467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6516308" y="2703648"/>
              <a:ext cx="149739" cy="135444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3" name="Freeform 468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956164" y="2811010"/>
              <a:ext cx="32756" cy="57811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4" name="Freeform 469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5905650" y="1910811"/>
              <a:ext cx="238648" cy="693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5" name="Freeform 470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511626" y="2660707"/>
              <a:ext cx="44453" cy="59463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6" name="Freeform 471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6240226" y="4753467"/>
              <a:ext cx="91247" cy="59463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7" name="Freeform 472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5903318" y="1960365"/>
              <a:ext cx="194192" cy="87543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8" name="Freeform 473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5470471" y="2153616"/>
              <a:ext cx="28075" cy="62766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9" name="Freeform 474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6497593" y="4114236"/>
              <a:ext cx="102945" cy="251066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0" name="Freeform 475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748896" y="2627673"/>
              <a:ext cx="21057" cy="59463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1" name="Freeform 476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219166" y="4314098"/>
              <a:ext cx="278422" cy="226289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2" name="Freeform 477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6090489" y="4081203"/>
              <a:ext cx="432840" cy="312181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3" name="Freeform 478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5702105" y="4365307"/>
              <a:ext cx="517067" cy="396419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4" name="Freeform 479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639888" y="3252030"/>
              <a:ext cx="238648" cy="147005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5" name="Freeform 480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6368911" y="3836746"/>
              <a:ext cx="397744" cy="348519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6" name="Freeform 481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10147478" y="2290716"/>
              <a:ext cx="28075" cy="59463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7" name="Freeform 482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9939247" y="2292367"/>
              <a:ext cx="208232" cy="130487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8" name="Freeform 483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9894794" y="2660707"/>
              <a:ext cx="77209" cy="59463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9" name="Freeform 484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9815245" y="2675566"/>
              <a:ext cx="88907" cy="87543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0" name="Freeform 485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9838647" y="2427806"/>
              <a:ext cx="308837" cy="254371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1" name="Freeform 486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6277662" y="1273242"/>
              <a:ext cx="159098" cy="62766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2" name="Freeform 487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6488229" y="1255073"/>
              <a:ext cx="93588" cy="59463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3" name="Freeform 488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542044" y="1263331"/>
              <a:ext cx="191852" cy="59463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4" name="Freeform 489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7328171" y="1456584"/>
              <a:ext cx="60832" cy="59463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5" name="Freeform 490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7194811" y="1309575"/>
              <a:ext cx="23397" cy="61116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6" name="Freeform 491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7227567" y="1266633"/>
              <a:ext cx="21057" cy="62766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7" name="Freeform 492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7440476" y="1387213"/>
              <a:ext cx="25738" cy="59463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8" name="Freeform 493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7520026" y="1266633"/>
              <a:ext cx="138041" cy="62766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9" name="Freeform 494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608931" y="1293058"/>
              <a:ext cx="152080" cy="62766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0" name="Freeform 495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782070" y="1307926"/>
              <a:ext cx="121663" cy="59463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1" name="Freeform 496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8558838" y="1438409"/>
              <a:ext cx="116983" cy="61116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2" name="Freeform 497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8657108" y="1456584"/>
              <a:ext cx="49134" cy="59463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3" name="Freeform 498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8701561" y="1468141"/>
              <a:ext cx="77209" cy="61116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4" name="Freeform 499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8364646" y="1440064"/>
              <a:ext cx="91247" cy="61113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5" name="Freeform 500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8806845" y="1378953"/>
              <a:ext cx="205892" cy="59463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6" name="Freeform 501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9043152" y="1387213"/>
              <a:ext cx="140380" cy="59463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7" name="Freeform 502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8984658" y="1436760"/>
              <a:ext cx="93588" cy="61113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8" name="Freeform 503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954246" y="1433458"/>
              <a:ext cx="30415" cy="61113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9" name="Line 504"/>
            <p:cNvSpPr>
              <a:spLocks noChangeShapeType="1"/>
            </p:cNvSpPr>
            <p:nvPr>
              <p:custDataLst>
                <p:tags r:id="rId340"/>
              </p:custDataLst>
            </p:nvPr>
          </p:nvSpPr>
          <p:spPr bwMode="auto">
            <a:xfrm flipV="1">
              <a:off x="8956584" y="1431804"/>
              <a:ext cx="0" cy="1653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0" name="Freeform 505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7732935" y="1357474"/>
              <a:ext cx="16377" cy="57811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1" name="Freeform 506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8837261" y="1431809"/>
              <a:ext cx="14038" cy="59463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2" name="Freeform 507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8769410" y="1393819"/>
              <a:ext cx="14038" cy="59463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3" name="Freeform 508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9506407" y="1986791"/>
              <a:ext cx="18718" cy="61116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4" name="Freeform 509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9939247" y="1489616"/>
              <a:ext cx="81888" cy="61113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5" name="Freeform 510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10140462" y="1856308"/>
              <a:ext cx="21059" cy="59463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6" name="Freeform 511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10360388" y="1973581"/>
              <a:ext cx="63173" cy="62766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7" name="Freeform 512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10435257" y="1990092"/>
              <a:ext cx="28075" cy="61116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8" name="Freeform 513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10236386" y="2122239"/>
              <a:ext cx="21057" cy="59463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9" name="Freeform 514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10252763" y="2151966"/>
              <a:ext cx="4679" cy="62766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0" name="Freeform 515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10234046" y="2237855"/>
              <a:ext cx="14038" cy="57811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1" name="Freeform 516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10201290" y="2274195"/>
              <a:ext cx="0" cy="61116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2" name="Freeform 517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10201291" y="2274195"/>
              <a:ext cx="11698" cy="61116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3" name="Freeform 518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9838647" y="1844743"/>
              <a:ext cx="25737" cy="62766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4" name="Freeform 519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5882253" y="1990092"/>
              <a:ext cx="70190" cy="61116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5" name="Freeform 520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6544382" y="1565597"/>
              <a:ext cx="63170" cy="61113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6" name="Freeform 521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6595862" y="1370694"/>
              <a:ext cx="336912" cy="170129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7" name="Freeform 522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289357" y="1694431"/>
              <a:ext cx="46793" cy="57811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8" name="Freeform 523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9686563" y="2003311"/>
              <a:ext cx="290120" cy="27914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89" name="Group 524"/>
            <p:cNvGrpSpPr>
              <a:grpSpLocks/>
            </p:cNvGrpSpPr>
            <p:nvPr>
              <p:custDataLst>
                <p:tags r:id="rId360"/>
              </p:custDataLst>
            </p:nvPr>
          </p:nvGrpSpPr>
          <p:grpSpPr bwMode="auto">
            <a:xfrm>
              <a:off x="7903737" y="1957064"/>
              <a:ext cx="989683" cy="399721"/>
              <a:chOff x="4115" y="1551"/>
              <a:chExt cx="504" cy="244"/>
            </a:xfrm>
            <a:grpFill/>
          </p:grpSpPr>
          <p:sp>
            <p:nvSpPr>
              <p:cNvPr id="41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0" name="Freeform 527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6513966" y="2736684"/>
              <a:ext cx="781450" cy="531863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1" name="Freeform 528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5739538" y="2262638"/>
              <a:ext cx="84228" cy="59463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2" name="Freeform 529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5355830" y="2483972"/>
              <a:ext cx="23397" cy="59463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3" name="Freeform 530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754534" y="2844051"/>
              <a:ext cx="42115" cy="59463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4" name="Freeform 531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667967" y="2860564"/>
              <a:ext cx="35094" cy="62766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5" name="Freeform 532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4630530" y="2853961"/>
              <a:ext cx="9357" cy="59463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6" name="Freeform 533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6504605" y="2571510"/>
              <a:ext cx="257365" cy="165174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7" name="Freeform 534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9590636" y="2967926"/>
              <a:ext cx="63170" cy="82588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98" name="Group 535"/>
            <p:cNvGrpSpPr>
              <a:grpSpLocks/>
            </p:cNvGrpSpPr>
            <p:nvPr>
              <p:custDataLst>
                <p:tags r:id="rId369"/>
              </p:custDataLst>
            </p:nvPr>
          </p:nvGrpSpPr>
          <p:grpSpPr bwMode="auto">
            <a:xfrm>
              <a:off x="6123447" y="2414416"/>
              <a:ext cx="711282" cy="209759"/>
              <a:chOff x="3289" y="1830"/>
              <a:chExt cx="363" cy="128"/>
            </a:xfrm>
            <a:grpFill/>
          </p:grpSpPr>
          <p:sp>
            <p:nvSpPr>
              <p:cNvPr id="41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4571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9" name="Freeform 541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3158877" y="3613759"/>
              <a:ext cx="147401" cy="127185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0" name="Freeform 542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8972967" y="3027388"/>
              <a:ext cx="306496" cy="477354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1" name="Freeform 543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9101645" y="3740948"/>
              <a:ext cx="37435" cy="59463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2" name="Freeform 544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7173752" y="2969581"/>
              <a:ext cx="257365" cy="282447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3" name="Freeform 545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5297339" y="3025740"/>
              <a:ext cx="554502" cy="401373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4" name="Freeform 546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4810687" y="2627668"/>
              <a:ext cx="442198" cy="270886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5" name="Freeform 547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842484" y="1514393"/>
              <a:ext cx="348611" cy="95801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6" name="Freeform 548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6595857" y="1497879"/>
              <a:ext cx="159098" cy="62766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7" name="Freeform 549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6806425" y="1479709"/>
              <a:ext cx="93588" cy="59463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8" name="Freeform 550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860239" y="1487969"/>
              <a:ext cx="191852" cy="59463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6161" tIns="38083" rIns="76161" bIns="38083"/>
            <a:lstStyle/>
            <a:p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9" name="Oval 408"/>
            <p:cNvSpPr/>
            <p:nvPr/>
          </p:nvSpPr>
          <p:spPr>
            <a:xfrm>
              <a:off x="8038056" y="2895683"/>
              <a:ext cx="115233" cy="124674"/>
            </a:xfrm>
            <a:prstGeom prst="ellipse">
              <a:avLst/>
            </a:prstGeom>
            <a:grpFill/>
            <a:ln>
              <a:noFill/>
            </a:ln>
          </p:spPr>
          <p:txBody>
            <a:bodyPr lIns="76161" tIns="38083" rIns="76161" bIns="38083" rtlCol="0" anchor="ctr"/>
            <a:lstStyle/>
            <a:p>
              <a:pPr marL="0" marR="0" lvl="0" indent="0" algn="ctr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552" name="Picture 551" descr="weekly-message.png"/>
          <p:cNvPicPr>
            <a:picLocks noChangeAspect="1"/>
          </p:cNvPicPr>
          <p:nvPr/>
        </p:nvPicPr>
        <p:blipFill>
          <a:blip r:embed="rId381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5267" y="1968723"/>
            <a:ext cx="374144" cy="280608"/>
          </a:xfrm>
          <a:prstGeom prst="rect">
            <a:avLst/>
          </a:prstGeom>
        </p:spPr>
      </p:pic>
      <p:sp>
        <p:nvSpPr>
          <p:cNvPr id="556" name="Rectangular Callout 555"/>
          <p:cNvSpPr/>
          <p:nvPr/>
        </p:nvSpPr>
        <p:spPr>
          <a:xfrm>
            <a:off x="1109541" y="2570775"/>
            <a:ext cx="2647772" cy="1487133"/>
          </a:xfrm>
          <a:prstGeom prst="wedgeRectCallout">
            <a:avLst>
              <a:gd name="adj1" fmla="val 6238"/>
              <a:gd name="adj2" fmla="val -65396"/>
            </a:avLst>
          </a:prstGeom>
          <a:solidFill>
            <a:schemeClr val="bg1"/>
          </a:solidFill>
          <a:ln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7" name="TextBox 556"/>
          <p:cNvSpPr txBox="1"/>
          <p:nvPr/>
        </p:nvSpPr>
        <p:spPr>
          <a:xfrm>
            <a:off x="1240483" y="2841282"/>
            <a:ext cx="2546633" cy="1241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1917" lvl="0" indent="-121917">
              <a:buFont typeface="Arial" panose="020B0604020202020204" pitchFamily="34" charset="0"/>
              <a:buChar char="•"/>
              <a:defRPr/>
            </a:pPr>
            <a:r>
              <a:rPr lang="en-US" sz="1067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 </a:t>
            </a:r>
            <a:r>
              <a:rPr lang="en-US" sz="10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y Manager</a:t>
            </a:r>
          </a:p>
          <a:p>
            <a:pPr marL="121917" indent="-121917">
              <a:buFont typeface="Arial" panose="020B0604020202020204" pitchFamily="34" charset="0"/>
              <a:buChar char="•"/>
              <a:defRPr/>
            </a:pPr>
            <a:r>
              <a:rPr lang="en-US" sz="10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Architect</a:t>
            </a:r>
          </a:p>
          <a:p>
            <a:pPr marL="121917" indent="-121917">
              <a:buFont typeface="Arial" panose="020B0604020202020204" pitchFamily="34" charset="0"/>
              <a:buChar char="•"/>
              <a:defRPr/>
            </a:pPr>
            <a:r>
              <a:rPr lang="en-US" sz="1067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Architect</a:t>
            </a:r>
            <a:endParaRPr lang="en-US" sz="1067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917" indent="-121917">
              <a:buFont typeface="Arial" panose="020B0604020202020204" pitchFamily="34" charset="0"/>
              <a:buChar char="•"/>
              <a:defRPr/>
            </a:pPr>
            <a:r>
              <a:rPr lang="en-US" sz="1067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Architect</a:t>
            </a:r>
            <a:endParaRPr lang="en-US" sz="1067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917" indent="-121917">
              <a:buFont typeface="Arial" panose="020B0604020202020204" pitchFamily="34" charset="0"/>
              <a:buChar char="•"/>
              <a:defRPr/>
            </a:pPr>
            <a:r>
              <a:rPr lang="en-US" sz="1067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Specialist</a:t>
            </a:r>
            <a:endParaRPr lang="en-US" sz="1067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ktop / Mobility</a:t>
            </a:r>
            <a:r>
              <a:rPr kumimoji="0" lang="en-US" sz="1067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pecialist</a:t>
            </a:r>
          </a:p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67" baseline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AM Liaison</a:t>
            </a:r>
            <a:r>
              <a:rPr lang="en-US" sz="1067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ecialist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8" name="TextBox 557"/>
          <p:cNvSpPr txBox="1"/>
          <p:nvPr/>
        </p:nvSpPr>
        <p:spPr>
          <a:xfrm>
            <a:off x="1054576" y="2614051"/>
            <a:ext cx="23075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lotte, NC, USA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9" name="Rectangular Callout 558"/>
          <p:cNvSpPr/>
          <p:nvPr/>
        </p:nvSpPr>
        <p:spPr>
          <a:xfrm>
            <a:off x="9125930" y="2610377"/>
            <a:ext cx="2939070" cy="1692567"/>
          </a:xfrm>
          <a:prstGeom prst="wedgeRectCallout">
            <a:avLst>
              <a:gd name="adj1" fmla="val -79725"/>
              <a:gd name="adj2" fmla="val -31593"/>
            </a:avLst>
          </a:prstGeom>
          <a:solidFill>
            <a:schemeClr val="bg1"/>
          </a:solidFill>
          <a:ln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60" name="Picture 559" descr="weekly-message.png"/>
          <p:cNvPicPr>
            <a:picLocks noChangeAspect="1"/>
          </p:cNvPicPr>
          <p:nvPr/>
        </p:nvPicPr>
        <p:blipFill>
          <a:blip r:embed="rId381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5789" y="2667141"/>
            <a:ext cx="374144" cy="280608"/>
          </a:xfrm>
          <a:prstGeom prst="rect">
            <a:avLst/>
          </a:prstGeom>
        </p:spPr>
      </p:pic>
      <p:sp>
        <p:nvSpPr>
          <p:cNvPr id="561" name="TextBox 560"/>
          <p:cNvSpPr txBox="1"/>
          <p:nvPr/>
        </p:nvSpPr>
        <p:spPr>
          <a:xfrm>
            <a:off x="9180496" y="2860238"/>
            <a:ext cx="2948726" cy="1406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oud</a:t>
            </a:r>
            <a:r>
              <a:rPr kumimoji="0" lang="en-US" sz="1067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ngineers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twork Engineer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urity Administrator</a:t>
            </a:r>
          </a:p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mote Desktop/Mobility Support </a:t>
            </a:r>
            <a:r>
              <a:rPr lang="en-US" sz="1067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ineer</a:t>
            </a:r>
          </a:p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67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/Smart Operations</a:t>
            </a:r>
          </a:p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pacity and Performance Manager</a:t>
            </a:r>
          </a:p>
          <a:p>
            <a:pPr marL="121917" marR="0" lvl="0" indent="-12191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67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and CMG</a:t>
            </a:r>
          </a:p>
          <a:p>
            <a:pPr marL="121917" lvl="0" indent="-121917">
              <a:buFont typeface="Arial" panose="020B0604020202020204" pitchFamily="34" charset="0"/>
              <a:buChar char="•"/>
              <a:defRPr/>
            </a:pPr>
            <a:r>
              <a:rPr lang="en-US" sz="10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ing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2" name="TextBox 561"/>
          <p:cNvSpPr txBox="1"/>
          <p:nvPr/>
        </p:nvSpPr>
        <p:spPr>
          <a:xfrm>
            <a:off x="9158519" y="2621493"/>
            <a:ext cx="29381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ennai, TN, </a:t>
            </a:r>
            <a:r>
              <a:rPr lang="en-US" sz="105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a</a:t>
            </a: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&amp; Bangalore**, KA, India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64" name="Picture 563"/>
          <p:cNvPicPr>
            <a:picLocks noChangeAspect="1"/>
          </p:cNvPicPr>
          <p:nvPr/>
        </p:nvPicPr>
        <p:blipFill>
          <a:blip r:embed="rId382" cstate="email">
            <a:duotone>
              <a:prstClr val="black"/>
              <a:srgbClr val="A50021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2422" y="1990150"/>
            <a:ext cx="216895" cy="304800"/>
          </a:xfrm>
          <a:prstGeom prst="rect">
            <a:avLst/>
          </a:prstGeom>
        </p:spPr>
      </p:pic>
      <p:pic>
        <p:nvPicPr>
          <p:cNvPr id="565" name="Picture 564"/>
          <p:cNvPicPr>
            <a:picLocks noChangeAspect="1"/>
          </p:cNvPicPr>
          <p:nvPr/>
        </p:nvPicPr>
        <p:blipFill>
          <a:blip r:embed="rId382" cstate="email">
            <a:duotone>
              <a:prstClr val="black"/>
              <a:srgbClr val="A50021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8006" y="2690303"/>
            <a:ext cx="216895" cy="304800"/>
          </a:xfrm>
          <a:prstGeom prst="rect">
            <a:avLst/>
          </a:prstGeom>
        </p:spPr>
      </p:pic>
      <p:sp>
        <p:nvSpPr>
          <p:cNvPr id="553" name="Rectangle 552"/>
          <p:cNvSpPr/>
          <p:nvPr/>
        </p:nvSpPr>
        <p:spPr>
          <a:xfrm>
            <a:off x="3827373" y="6366721"/>
            <a:ext cx="384091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*Dual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cation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rategy adopted for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isaster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covery / BC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6" name="Rectangle 565"/>
          <p:cNvSpPr/>
          <p:nvPr/>
        </p:nvSpPr>
        <p:spPr>
          <a:xfrm>
            <a:off x="4583935" y="794523"/>
            <a:ext cx="3021239" cy="1314086"/>
          </a:xfrm>
          <a:prstGeom prst="rect">
            <a:avLst/>
          </a:prstGeom>
          <a:solidFill>
            <a:schemeClr val="bg1"/>
          </a:solidFill>
          <a:ln>
            <a:solidFill>
              <a:srgbClr val="0033A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609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ort Highlights</a:t>
            </a:r>
          </a:p>
          <a:p>
            <a:pPr marL="0" marR="0" lvl="0" indent="0" algn="ctr" defTabSz="609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 smtClean="0">
              <a:ln>
                <a:noFill/>
              </a:ln>
              <a:solidFill>
                <a:srgbClr val="14141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28594" marR="0" lvl="0" indent="-228594" algn="l" defTabSz="609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4x7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upport operations from offshore</a:t>
            </a:r>
          </a:p>
          <a:p>
            <a:pPr marL="228594" marR="0" lvl="0" indent="-228594" algn="l" defTabSz="609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nsite SME presence covering business hours </a:t>
            </a:r>
          </a:p>
          <a:p>
            <a:pPr marL="228594" marR="0" lvl="0" indent="-228594" algn="l" defTabSz="609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fshore SME presence covering 16 x5</a:t>
            </a:r>
          </a:p>
          <a:p>
            <a:pPr marL="228594" marR="0" lvl="0" indent="-228594" algn="l" defTabSz="609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n call SME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upport during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f business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ours for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1 Incident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4141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4141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661" name="Straight Arrow Connector 660"/>
          <p:cNvCxnSpPr/>
          <p:nvPr/>
        </p:nvCxnSpPr>
        <p:spPr>
          <a:xfrm>
            <a:off x="714529" y="5045195"/>
            <a:ext cx="3506498" cy="0"/>
          </a:xfrm>
          <a:prstGeom prst="straightConnector1">
            <a:avLst/>
          </a:prstGeom>
          <a:noFill/>
          <a:ln w="6350" cap="flat" cmpd="sng" algn="ctr">
            <a:solidFill>
              <a:srgbClr val="0033A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662" name="Straight Arrow Connector 661"/>
          <p:cNvCxnSpPr/>
          <p:nvPr/>
        </p:nvCxnSpPr>
        <p:spPr>
          <a:xfrm>
            <a:off x="4221026" y="5040838"/>
            <a:ext cx="3506498" cy="0"/>
          </a:xfrm>
          <a:prstGeom prst="straightConnector1">
            <a:avLst/>
          </a:prstGeom>
          <a:noFill/>
          <a:ln w="6350" cap="flat" cmpd="sng" algn="ctr">
            <a:solidFill>
              <a:srgbClr val="0033A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663" name="Straight Arrow Connector 662"/>
          <p:cNvCxnSpPr/>
          <p:nvPr/>
        </p:nvCxnSpPr>
        <p:spPr>
          <a:xfrm>
            <a:off x="7720660" y="5040838"/>
            <a:ext cx="3506498" cy="0"/>
          </a:xfrm>
          <a:prstGeom prst="straightConnector1">
            <a:avLst/>
          </a:prstGeom>
          <a:noFill/>
          <a:ln w="6350" cap="flat" cmpd="sng" algn="ctr">
            <a:solidFill>
              <a:srgbClr val="0033A0"/>
            </a:solidFill>
            <a:prstDash val="sysDash"/>
            <a:miter lim="800000"/>
            <a:headEnd type="triangle"/>
            <a:tailEnd type="triangle"/>
          </a:ln>
          <a:effectLst/>
        </p:spPr>
      </p:cxnSp>
      <p:cxnSp>
        <p:nvCxnSpPr>
          <p:cNvPr id="664" name="Straight Arrow Connector 663"/>
          <p:cNvCxnSpPr/>
          <p:nvPr/>
        </p:nvCxnSpPr>
        <p:spPr>
          <a:xfrm>
            <a:off x="714529" y="5572059"/>
            <a:ext cx="10512629" cy="0"/>
          </a:xfrm>
          <a:prstGeom prst="straightConnector1">
            <a:avLst/>
          </a:prstGeom>
          <a:noFill/>
          <a:ln w="6350" cap="flat" cmpd="sng" algn="ctr">
            <a:solidFill>
              <a:srgbClr val="0033A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665" name="Straight Arrow Connector 664"/>
          <p:cNvCxnSpPr/>
          <p:nvPr/>
        </p:nvCxnSpPr>
        <p:spPr>
          <a:xfrm>
            <a:off x="714529" y="6024905"/>
            <a:ext cx="10512629" cy="0"/>
          </a:xfrm>
          <a:prstGeom prst="straightConnector1">
            <a:avLst/>
          </a:prstGeom>
          <a:noFill/>
          <a:ln w="6350" cap="flat" cmpd="sng" algn="ctr">
            <a:solidFill>
              <a:srgbClr val="0033A0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674" name="TextBox 673"/>
          <p:cNvSpPr txBox="1"/>
          <p:nvPr/>
        </p:nvSpPr>
        <p:spPr>
          <a:xfrm>
            <a:off x="1698489" y="4831281"/>
            <a:ext cx="1645920" cy="461665"/>
          </a:xfrm>
          <a:prstGeom prst="rect">
            <a:avLst/>
          </a:prstGeom>
          <a:noFill/>
          <a:ln>
            <a:solidFill>
              <a:srgbClr val="0033A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site SME Pres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n-Fri</a:t>
            </a:r>
          </a:p>
        </p:txBody>
      </p:sp>
      <p:sp>
        <p:nvSpPr>
          <p:cNvPr id="675" name="TextBox 674"/>
          <p:cNvSpPr txBox="1"/>
          <p:nvPr/>
        </p:nvSpPr>
        <p:spPr>
          <a:xfrm>
            <a:off x="5193855" y="4810005"/>
            <a:ext cx="1645920" cy="461665"/>
          </a:xfrm>
          <a:prstGeom prst="rect">
            <a:avLst/>
          </a:prstGeom>
          <a:noFill/>
          <a:ln>
            <a:solidFill>
              <a:srgbClr val="0033A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shore SME Pres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n-Fri</a:t>
            </a:r>
          </a:p>
        </p:txBody>
      </p:sp>
      <p:sp>
        <p:nvSpPr>
          <p:cNvPr id="676" name="TextBox 675"/>
          <p:cNvSpPr txBox="1"/>
          <p:nvPr/>
        </p:nvSpPr>
        <p:spPr>
          <a:xfrm>
            <a:off x="8490651" y="4806457"/>
            <a:ext cx="1645920" cy="461665"/>
          </a:xfrm>
          <a:prstGeom prst="rect">
            <a:avLst/>
          </a:prstGeom>
          <a:noFill/>
          <a:ln>
            <a:solidFill>
              <a:srgbClr val="0033A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shore SME On Ca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n-Fri</a:t>
            </a:r>
          </a:p>
        </p:txBody>
      </p:sp>
      <p:sp>
        <p:nvSpPr>
          <p:cNvPr id="677" name="TextBox 676"/>
          <p:cNvSpPr txBox="1"/>
          <p:nvPr/>
        </p:nvSpPr>
        <p:spPr>
          <a:xfrm>
            <a:off x="3320718" y="5345330"/>
            <a:ext cx="2106043" cy="461665"/>
          </a:xfrm>
          <a:prstGeom prst="rect">
            <a:avLst/>
          </a:prstGeom>
          <a:noFill/>
          <a:ln>
            <a:solidFill>
              <a:srgbClr val="0033A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shore/Onsite SME On Ca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t-Sun</a:t>
            </a:r>
          </a:p>
        </p:txBody>
      </p:sp>
      <p:sp>
        <p:nvSpPr>
          <p:cNvPr id="678" name="TextBox 677"/>
          <p:cNvSpPr txBox="1"/>
          <p:nvPr/>
        </p:nvSpPr>
        <p:spPr>
          <a:xfrm>
            <a:off x="5470711" y="5800435"/>
            <a:ext cx="3002927" cy="461665"/>
          </a:xfrm>
          <a:prstGeom prst="rect">
            <a:avLst/>
          </a:prstGeom>
          <a:noFill/>
          <a:ln>
            <a:solidFill>
              <a:srgbClr val="0033A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shore Smart / Integrated Oper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n-Sun</a:t>
            </a:r>
          </a:p>
        </p:txBody>
      </p:sp>
      <p:sp>
        <p:nvSpPr>
          <p:cNvPr id="58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83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 Distribution </a:t>
            </a:r>
            <a:r>
              <a:rPr lang="en-US" dirty="0" smtClean="0"/>
              <a:t>– Year 1* </a:t>
            </a:r>
            <a:r>
              <a:rPr lang="en-US" dirty="0" smtClean="0">
                <a:solidFill>
                  <a:srgbClr val="FF0000"/>
                </a:solidFill>
              </a:rPr>
              <a:t>Year 2 onwards few rotations are expected.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959931" y="6035596"/>
            <a:ext cx="10284330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 smtClean="0">
                <a:solidFill>
                  <a:schemeClr val="tx2"/>
                </a:solidFill>
              </a:rPr>
              <a:t>Project associates may also be expected to work BAU including on-call support in the weekend.</a:t>
            </a:r>
          </a:p>
          <a:p>
            <a:pPr marL="342900" indent="-342900" algn="l">
              <a:buAutoNum type="arabicPeriod"/>
            </a:pPr>
            <a:endParaRPr lang="en-US" sz="1400" dirty="0" smtClean="0">
              <a:solidFill>
                <a:schemeClr val="tx2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657896"/>
              </p:ext>
            </p:extLst>
          </p:nvPr>
        </p:nvGraphicFramePr>
        <p:xfrm>
          <a:off x="512064" y="775535"/>
          <a:ext cx="10155937" cy="5070481"/>
        </p:xfrm>
        <a:graphic>
          <a:graphicData uri="http://schemas.openxmlformats.org/drawingml/2006/table">
            <a:tbl>
              <a:tblPr firstRow="1" firstCol="1" bandRow="1">
                <a:tableStyleId>{17292A2E-F333-43FB-9621-5CBBE7FDCDCB}</a:tableStyleId>
              </a:tblPr>
              <a:tblGrid>
                <a:gridCol w="3978291">
                  <a:extLst>
                    <a:ext uri="{9D8B030D-6E8A-4147-A177-3AD203B41FA5}">
                      <a16:colId xmlns:a16="http://schemas.microsoft.com/office/drawing/2014/main" val="3533254133"/>
                    </a:ext>
                  </a:extLst>
                </a:gridCol>
                <a:gridCol w="2193636">
                  <a:extLst>
                    <a:ext uri="{9D8B030D-6E8A-4147-A177-3AD203B41FA5}">
                      <a16:colId xmlns:a16="http://schemas.microsoft.com/office/drawing/2014/main" val="435577082"/>
                    </a:ext>
                  </a:extLst>
                </a:gridCol>
                <a:gridCol w="2059215">
                  <a:extLst>
                    <a:ext uri="{9D8B030D-6E8A-4147-A177-3AD203B41FA5}">
                      <a16:colId xmlns:a16="http://schemas.microsoft.com/office/drawing/2014/main" val="2620972639"/>
                    </a:ext>
                  </a:extLst>
                </a:gridCol>
                <a:gridCol w="1924795">
                  <a:extLst>
                    <a:ext uri="{9D8B030D-6E8A-4147-A177-3AD203B41FA5}">
                      <a16:colId xmlns:a16="http://schemas.microsoft.com/office/drawing/2014/main" val="720368521"/>
                    </a:ext>
                  </a:extLst>
                </a:gridCol>
              </a:tblGrid>
              <a:tr h="306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Towe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/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Planned onboard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Identifi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92161509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Integrated Op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6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41754680"/>
                  </a:ext>
                </a:extLst>
              </a:tr>
              <a:tr h="306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Cloud BAU  +Automation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4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75908924"/>
                  </a:ext>
                </a:extLst>
              </a:tr>
              <a:tr h="306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Cloud Architect + Automation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71893192"/>
                  </a:ext>
                </a:extLst>
              </a:tr>
              <a:tr h="306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Network BAU + Solarwind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4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2705480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Network Architec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90017172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EUC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0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6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20480781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EUC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29662945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Architec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77645282"/>
                  </a:ext>
                </a:extLst>
              </a:tr>
              <a:tr h="306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apacity &amp; Performance Manager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01431689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Report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5985497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CM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9911322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NOW-Liaison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5199930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Delivery Management-BAU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3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2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38426433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Delivery Management-BAU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65363442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I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7126420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Projects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4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05877733"/>
                  </a:ext>
                </a:extLst>
              </a:tr>
              <a:tr h="306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Project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4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2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31151280"/>
                  </a:ext>
                </a:extLst>
              </a:tr>
              <a:tr h="306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ecurity BAU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6.2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3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96946180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ecurity Architec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Onsit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.25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59987315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Transition Mgmt A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nsi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59229730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 Transition Mgmt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ffshor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2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9521352"/>
                  </a:ext>
                </a:extLst>
              </a:tr>
              <a:tr h="1703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Total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67.45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mtClean="0">
                          <a:effectLst/>
                        </a:rPr>
                        <a:t>29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4885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26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Contac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8</a:t>
            </a:fld>
            <a:endParaRPr lang="en-US"/>
          </a:p>
        </p:txBody>
      </p:sp>
      <p:sp>
        <p:nvSpPr>
          <p:cNvPr id="10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306578" y="1134872"/>
          <a:ext cx="11668823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743">
                  <a:extLst>
                    <a:ext uri="{9D8B030D-6E8A-4147-A177-3AD203B41FA5}">
                      <a16:colId xmlns:a16="http://schemas.microsoft.com/office/drawing/2014/main" val="3011134609"/>
                    </a:ext>
                  </a:extLst>
                </a:gridCol>
                <a:gridCol w="2746439">
                  <a:extLst>
                    <a:ext uri="{9D8B030D-6E8A-4147-A177-3AD203B41FA5}">
                      <a16:colId xmlns:a16="http://schemas.microsoft.com/office/drawing/2014/main" val="4285992608"/>
                    </a:ext>
                  </a:extLst>
                </a:gridCol>
                <a:gridCol w="4186555">
                  <a:extLst>
                    <a:ext uri="{9D8B030D-6E8A-4147-A177-3AD203B41FA5}">
                      <a16:colId xmlns:a16="http://schemas.microsoft.com/office/drawing/2014/main" val="231283389"/>
                    </a:ext>
                  </a:extLst>
                </a:gridCol>
                <a:gridCol w="1227455">
                  <a:extLst>
                    <a:ext uri="{9D8B030D-6E8A-4147-A177-3AD203B41FA5}">
                      <a16:colId xmlns:a16="http://schemas.microsoft.com/office/drawing/2014/main" val="1907740657"/>
                    </a:ext>
                  </a:extLst>
                </a:gridCol>
                <a:gridCol w="3028631">
                  <a:extLst>
                    <a:ext uri="{9D8B030D-6E8A-4147-A177-3AD203B41FA5}">
                      <a16:colId xmlns:a16="http://schemas.microsoft.com/office/drawing/2014/main" val="160301610"/>
                    </a:ext>
                  </a:extLst>
                </a:gridCol>
              </a:tblGrid>
              <a:tr h="235198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</a:t>
                      </a:r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#</a:t>
                      </a:r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</a:t>
                      </a:r>
                      <a:r>
                        <a:rPr lang="en-US" sz="1200" baseline="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D</a:t>
                      </a:r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one #</a:t>
                      </a:r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le</a:t>
                      </a:r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85886"/>
                  </a:ext>
                </a:extLst>
              </a:tr>
              <a:tr h="23519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ameswaran Kavassery Venkatachalam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/>
                        </a:rPr>
                        <a:t>PARAMESWARAN.KAVASSERYVENKATACHALAM@cognizant.com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919791085229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fshore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elivery Manager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5871436"/>
                  </a:ext>
                </a:extLst>
              </a:tr>
              <a:tr h="23519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un Prasad </a:t>
                      </a:r>
                      <a:r>
                        <a:rPr lang="es-ES" sz="1200" dirty="0" err="1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dha</a:t>
                      </a:r>
                      <a:r>
                        <a:rPr lang="es-E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200" dirty="0" err="1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manan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3"/>
                        </a:rPr>
                        <a:t>Arun.Prasad@cognizant.com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919840940029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fshore Security Delivery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anager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191524"/>
                  </a:ext>
                </a:extLst>
              </a:tr>
              <a:tr h="1211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rthik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 Moorthy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4"/>
                        </a:rPr>
                        <a:t>KarthikS.Moorthy@cognizant.com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16143696067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site Delivery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anager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5350088"/>
                  </a:ext>
                </a:extLst>
              </a:tr>
              <a:tr h="1211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thuraman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handrasekaran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5"/>
                        </a:rPr>
                        <a:t>Sethuraman.Chandrasekaran@cognizant.com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en-US" sz="1200" dirty="0" smtClean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919789981573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ivery Excellence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894291"/>
                  </a:ext>
                </a:extLst>
              </a:tr>
              <a:tr h="1211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hankaranarayanan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dirty="0" err="1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kshmiNarayanan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hankaraNarayanan.Lakshminarayanan@cognizant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917358058445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fshore Delivery Director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9648356"/>
                  </a:ext>
                </a:extLst>
              </a:tr>
              <a:tr h="1211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deep Kumar Arumugham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deep.Kumar6@cognizant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12034479160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site Delivery director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0760578"/>
                  </a:ext>
                </a:extLst>
              </a:tr>
              <a:tr h="1211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sy Lopez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sy.Lopez@cognizant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17472668867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ansition Manager - Onsite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537345"/>
                  </a:ext>
                </a:extLst>
              </a:tr>
              <a:tr h="1211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ha Rani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haRani.G@cognizant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919591577200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ansition Manager - Offshore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771933"/>
                  </a:ext>
                </a:extLst>
              </a:tr>
              <a:tr h="1211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niel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t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niel.Ott@cognizant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M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2239143"/>
                  </a:ext>
                </a:extLst>
              </a:tr>
              <a:tr h="12116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anthaman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dirty="0" err="1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opalan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anthaman.Boopalan@cognizant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919790967910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A</a:t>
                      </a:r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8767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8421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kern="0" dirty="0" smtClean="0">
                <a:solidFill>
                  <a:srgbClr val="0033A0"/>
                </a:solidFill>
              </a:rPr>
              <a:t>Service Transition and Transformation High level Timeline</a:t>
            </a:r>
            <a:endParaRPr lang="en-US" kern="0" dirty="0">
              <a:solidFill>
                <a:srgbClr val="0033A0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BF22CA-A36B-4105-B3F0-7964EB763159}" type="slidenum">
              <a:rPr lang="en-US" smtClean="0"/>
              <a:t>9</a:t>
            </a:fld>
            <a:endParaRPr lang="en-US"/>
          </a:p>
        </p:txBody>
      </p:sp>
      <p:sp>
        <p:nvSpPr>
          <p:cNvPr id="1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3440" y="6400800"/>
            <a:ext cx="6096000" cy="207264"/>
          </a:xfrm>
        </p:spPr>
        <p:txBody>
          <a:bodyPr/>
          <a:lstStyle/>
          <a:p>
            <a:r>
              <a:rPr lang="en-US" dirty="0" smtClean="0"/>
              <a:t>© 2020 Cognizant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064" y="611715"/>
            <a:ext cx="10718800" cy="550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475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1738C27F9E6F43BFDE1FAA5016A131" ma:contentTypeVersion="4" ma:contentTypeDescription="Create a new document." ma:contentTypeScope="" ma:versionID="3747a2b99ad222a8bcdcc13b9c43d6d6">
  <xsd:schema xmlns:xsd="http://www.w3.org/2001/XMLSchema" xmlns:xs="http://www.w3.org/2001/XMLSchema" xmlns:p="http://schemas.microsoft.com/office/2006/metadata/properties" xmlns:ns2="956c5813-9527-4c49-a3e6-e2cb384151ee" xmlns:ns3="8d93f6a0-b1eb-4019-a307-90c7dbb75a18" targetNamespace="http://schemas.microsoft.com/office/2006/metadata/properties" ma:root="true" ma:fieldsID="153bf614c7418d5722066db1379948a2" ns2:_="" ns3:_="">
    <xsd:import namespace="956c5813-9527-4c49-a3e6-e2cb384151ee"/>
    <xsd:import namespace="8d93f6a0-b1eb-4019-a307-90c7dbb75a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c5813-9527-4c49-a3e6-e2cb384151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3f6a0-b1eb-4019-a307-90c7dbb75a1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BD343A5-396F-40D6-9808-6FE8BDF3E09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01BED2-43B6-4255-863A-0D84817139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6c5813-9527-4c49-a3e6-e2cb384151ee"/>
    <ds:schemaRef ds:uri="8d93f6a0-b1eb-4019-a307-90c7dbb75a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3DAB874-9A3A-4564-A3FE-19F0C23B302E}">
  <ds:schemaRefs>
    <ds:schemaRef ds:uri="8d93f6a0-b1eb-4019-a307-90c7dbb75a18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http://purl.org/dc/terms/"/>
    <ds:schemaRef ds:uri="956c5813-9527-4c49-a3e6-e2cb384151ee"/>
    <ds:schemaRef ds:uri="http://schemas.microsoft.com/office/infopath/2007/PartnerControls"/>
    <ds:schemaRef ds:uri="http://purl.org/dc/elements/1.1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51</TotalTime>
  <Words>2482</Words>
  <Application>Microsoft Office PowerPoint</Application>
  <PresentationFormat>Widescreen</PresentationFormat>
  <Paragraphs>718</Paragraphs>
  <Slides>1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MS PGothic</vt:lpstr>
      <vt:lpstr>Arial</vt:lpstr>
      <vt:lpstr>Calibri</vt:lpstr>
      <vt:lpstr>Calibri Light</vt:lpstr>
      <vt:lpstr>Courier New</vt:lpstr>
      <vt:lpstr>Wingdings</vt:lpstr>
      <vt:lpstr>Office Theme</vt:lpstr>
      <vt:lpstr>Cognizant</vt:lpstr>
      <vt:lpstr>Bright House Financials – OnBoarding Reference</vt:lpstr>
      <vt:lpstr>About Brighthouse Financials (BHF)</vt:lpstr>
      <vt:lpstr>Scope Overview </vt:lpstr>
      <vt:lpstr>Current Vs. Target Environment</vt:lpstr>
      <vt:lpstr>Overall Target Operating Model</vt:lpstr>
      <vt:lpstr>Delivery Location &amp; Roles</vt:lpstr>
      <vt:lpstr>Resource Distribution – Year 1* Year 2 onwards few rotations are expected.</vt:lpstr>
      <vt:lpstr>Key Contacts</vt:lpstr>
      <vt:lpstr>Service Transition and Transformation High level Timeline</vt:lpstr>
      <vt:lpstr>Cognizant team expectations</vt:lpstr>
      <vt:lpstr>Transformation/Tool Implementation Timeline 1/3</vt:lpstr>
      <vt:lpstr>Transformation/Tool Implementation Timeline 2/3</vt:lpstr>
      <vt:lpstr>Transformation/Tool Implementation Timeline 3/3</vt:lpstr>
      <vt:lpstr>Cloud Computing</vt:lpstr>
      <vt:lpstr>Network Services </vt:lpstr>
      <vt:lpstr>End User Computing </vt:lpstr>
      <vt:lpstr>Security Services</vt:lpstr>
      <vt:lpstr>PowerPoint Presentation</vt:lpstr>
    </vt:vector>
  </TitlesOfParts>
  <Company>Cognizant Technology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thikS.Moorthy@cognizant.com</dc:creator>
  <cp:lastModifiedBy>Kavassery Venkatachalam, Parameswaran (Cognizant)</cp:lastModifiedBy>
  <cp:revision>753</cp:revision>
  <dcterms:created xsi:type="dcterms:W3CDTF">2019-07-17T06:28:43Z</dcterms:created>
  <dcterms:modified xsi:type="dcterms:W3CDTF">2020-05-06T13:5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1738C27F9E6F43BFDE1FAA5016A131</vt:lpwstr>
  </property>
</Properties>
</file>